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7.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7" r:id="rId4"/>
    <p:sldMasterId id="2147484005" r:id="rId5"/>
    <p:sldMasterId id="2147483857" r:id="rId6"/>
    <p:sldMasterId id="2147483888" r:id="rId7"/>
    <p:sldMasterId id="2147483919" r:id="rId8"/>
    <p:sldMasterId id="2147484001" r:id="rId9"/>
  </p:sldMasterIdLst>
  <p:notesMasterIdLst>
    <p:notesMasterId r:id="rId27"/>
  </p:notesMasterIdLst>
  <p:sldIdLst>
    <p:sldId id="283" r:id="rId10"/>
    <p:sldId id="259" r:id="rId11"/>
    <p:sldId id="279" r:id="rId12"/>
    <p:sldId id="278" r:id="rId13"/>
    <p:sldId id="262" r:id="rId14"/>
    <p:sldId id="280" r:id="rId15"/>
    <p:sldId id="264" r:id="rId16"/>
    <p:sldId id="263" r:id="rId17"/>
    <p:sldId id="288" r:id="rId18"/>
    <p:sldId id="291" r:id="rId19"/>
    <p:sldId id="281" r:id="rId20"/>
    <p:sldId id="284" r:id="rId21"/>
    <p:sldId id="268" r:id="rId22"/>
    <p:sldId id="274" r:id="rId23"/>
    <p:sldId id="269" r:id="rId24"/>
    <p:sldId id="286" r:id="rId25"/>
    <p:sldId id="293" r:id="rId26"/>
  </p:sldIdLst>
  <p:sldSz cx="9144000" cy="6858000" type="screen4x3"/>
  <p:notesSz cx="6858000" cy="9144000"/>
  <p:custDataLst>
    <p:tags r:id="rId2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7" pos="2880" userDrawn="1">
          <p15:clr>
            <a:srgbClr val="A4A3A4"/>
          </p15:clr>
        </p15:guide>
        <p15:guide id="8" pos="340" userDrawn="1">
          <p15:clr>
            <a:srgbClr val="A4A3A4"/>
          </p15:clr>
        </p15:guide>
        <p15:guide id="10" pos="5488" userDrawn="1">
          <p15:clr>
            <a:srgbClr val="A4A3A4"/>
          </p15:clr>
        </p15:guide>
        <p15:guide id="11" pos="3220" userDrawn="1">
          <p15:clr>
            <a:srgbClr val="A4A3A4"/>
          </p15:clr>
        </p15:guide>
        <p15:guide id="12" orient="horz" pos="1026" userDrawn="1">
          <p15:clr>
            <a:srgbClr val="A4A3A4"/>
          </p15:clr>
        </p15:guide>
        <p15:guide id="13" orient="horz" pos="23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9D91"/>
    <a:srgbClr val="C2D8D0"/>
    <a:srgbClr val="D1E1DB"/>
    <a:srgbClr val="F2F4F2"/>
    <a:srgbClr val="E3EDE9"/>
    <a:srgbClr val="E3F2E9"/>
    <a:srgbClr val="DEE6E5"/>
    <a:srgbClr val="1BAE8F"/>
    <a:srgbClr val="FFFFFF"/>
    <a:srgbClr val="E3EE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404128-ED63-4489-852F-74354CF39B80}" v="55" dt="2022-04-04T15:01:46.8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06" autoAdjust="0"/>
    <p:restoredTop sz="93792" autoAdjust="0"/>
  </p:normalViewPr>
  <p:slideViewPr>
    <p:cSldViewPr snapToGrid="0">
      <p:cViewPr varScale="1">
        <p:scale>
          <a:sx n="59" d="100"/>
          <a:sy n="59" d="100"/>
        </p:scale>
        <p:origin x="1416" y="92"/>
      </p:cViewPr>
      <p:guideLst>
        <p:guide orient="horz" pos="2160"/>
        <p:guide pos="2880"/>
        <p:guide pos="340"/>
        <p:guide pos="5488"/>
        <p:guide pos="3220"/>
        <p:guide orient="horz" pos="1026"/>
        <p:guide orient="horz" pos="2364"/>
      </p:guideLst>
    </p:cSldViewPr>
  </p:slideViewPr>
  <p:notesTextViewPr>
    <p:cViewPr>
      <p:scale>
        <a:sx n="66" d="100"/>
        <a:sy n="66"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tags" Target="tags/tag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notesMaster" Target="notesMasters/notesMaster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OVENCHERE Sandrine" userId="ad1decff-d2ce-4d29-9d90-3591b80bc438" providerId="ADAL" clId="{6421FAB8-F9F1-4B4C-A377-32D918481779}"/>
    <pc:docChg chg="modSld">
      <pc:chgData name="PROVENCHERE Sandrine" userId="ad1decff-d2ce-4d29-9d90-3591b80bc438" providerId="ADAL" clId="{6421FAB8-F9F1-4B4C-A377-32D918481779}" dt="2021-12-01T08:07:04.408" v="49" actId="20577"/>
      <pc:docMkLst>
        <pc:docMk/>
      </pc:docMkLst>
      <pc:sldChg chg="modSp mod">
        <pc:chgData name="PROVENCHERE Sandrine" userId="ad1decff-d2ce-4d29-9d90-3591b80bc438" providerId="ADAL" clId="{6421FAB8-F9F1-4B4C-A377-32D918481779}" dt="2021-12-01T08:07:04.408" v="49" actId="20577"/>
        <pc:sldMkLst>
          <pc:docMk/>
          <pc:sldMk cId="1897431790" sldId="278"/>
        </pc:sldMkLst>
        <pc:spChg chg="mod">
          <ac:chgData name="PROVENCHERE Sandrine" userId="ad1decff-d2ce-4d29-9d90-3591b80bc438" providerId="ADAL" clId="{6421FAB8-F9F1-4B4C-A377-32D918481779}" dt="2021-12-01T08:07:04.408" v="49" actId="20577"/>
          <ac:spMkLst>
            <pc:docMk/>
            <pc:sldMk cId="1897431790" sldId="278"/>
            <ac:spMk id="12" creationId="{DF10B81B-D4BC-4BEA-913D-3639890701E1}"/>
          </ac:spMkLst>
        </pc:spChg>
      </pc:sldChg>
      <pc:sldChg chg="modSp mod">
        <pc:chgData name="PROVENCHERE Sandrine" userId="ad1decff-d2ce-4d29-9d90-3591b80bc438" providerId="ADAL" clId="{6421FAB8-F9F1-4B4C-A377-32D918481779}" dt="2021-12-01T08:06:41.165" v="41" actId="20577"/>
        <pc:sldMkLst>
          <pc:docMk/>
          <pc:sldMk cId="2157271150" sldId="279"/>
        </pc:sldMkLst>
        <pc:spChg chg="mod">
          <ac:chgData name="PROVENCHERE Sandrine" userId="ad1decff-d2ce-4d29-9d90-3591b80bc438" providerId="ADAL" clId="{6421FAB8-F9F1-4B4C-A377-32D918481779}" dt="2021-12-01T08:05:42.888" v="25" actId="20577"/>
          <ac:spMkLst>
            <pc:docMk/>
            <pc:sldMk cId="2157271150" sldId="279"/>
            <ac:spMk id="2" creationId="{B69439B7-1A42-439E-8119-15D210E89194}"/>
          </ac:spMkLst>
        </pc:spChg>
        <pc:spChg chg="mod">
          <ac:chgData name="PROVENCHERE Sandrine" userId="ad1decff-d2ce-4d29-9d90-3591b80bc438" providerId="ADAL" clId="{6421FAB8-F9F1-4B4C-A377-32D918481779}" dt="2021-12-01T08:06:41.165" v="41" actId="20577"/>
          <ac:spMkLst>
            <pc:docMk/>
            <pc:sldMk cId="2157271150" sldId="279"/>
            <ac:spMk id="15" creationId="{BB1DEA1E-C423-46E6-9D29-1AEA28A09901}"/>
          </ac:spMkLst>
        </pc:spChg>
      </pc:sldChg>
    </pc:docChg>
  </pc:docChgLst>
  <pc:docChgLst>
    <pc:chgData name="PROVENCHERE Sandrine" userId="ad1decff-d2ce-4d29-9d90-3591b80bc438" providerId="ADAL" clId="{F212EC5E-9E74-4E0A-AC52-2E833CDB70C7}"/>
    <pc:docChg chg="custSel delSld modSld">
      <pc:chgData name="PROVENCHERE Sandrine" userId="ad1decff-d2ce-4d29-9d90-3591b80bc438" providerId="ADAL" clId="{F212EC5E-9E74-4E0A-AC52-2E833CDB70C7}" dt="2021-08-25T13:11:16.594" v="243" actId="12788"/>
      <pc:docMkLst>
        <pc:docMk/>
      </pc:docMkLst>
      <pc:sldChg chg="modSp mod">
        <pc:chgData name="PROVENCHERE Sandrine" userId="ad1decff-d2ce-4d29-9d90-3591b80bc438" providerId="ADAL" clId="{F212EC5E-9E74-4E0A-AC52-2E833CDB70C7}" dt="2021-08-25T13:08:20.570" v="142"/>
        <pc:sldMkLst>
          <pc:docMk/>
          <pc:sldMk cId="1816587128" sldId="262"/>
        </pc:sldMkLst>
        <pc:spChg chg="mod">
          <ac:chgData name="PROVENCHERE Sandrine" userId="ad1decff-d2ce-4d29-9d90-3591b80bc438" providerId="ADAL" clId="{F212EC5E-9E74-4E0A-AC52-2E833CDB70C7}" dt="2021-08-25T13:08:20.049" v="140" actId="790"/>
          <ac:spMkLst>
            <pc:docMk/>
            <pc:sldMk cId="1816587128" sldId="262"/>
            <ac:spMk id="12" creationId="{0A0620F9-8FBB-4D15-87D2-4C7A0B0E2C34}"/>
          </ac:spMkLst>
        </pc:spChg>
        <pc:graphicFrameChg chg="mod">
          <ac:chgData name="PROVENCHERE Sandrine" userId="ad1decff-d2ce-4d29-9d90-3591b80bc438" providerId="ADAL" clId="{F212EC5E-9E74-4E0A-AC52-2E833CDB70C7}" dt="2021-08-25T13:08:20.570" v="142"/>
          <ac:graphicFrameMkLst>
            <pc:docMk/>
            <pc:sldMk cId="1816587128" sldId="262"/>
            <ac:graphicFrameMk id="3" creationId="{C7190FE8-53A8-4549-BB6D-FA151340F017}"/>
          </ac:graphicFrameMkLst>
        </pc:graphicFrameChg>
      </pc:sldChg>
      <pc:sldChg chg="del">
        <pc:chgData name="PROVENCHERE Sandrine" userId="ad1decff-d2ce-4d29-9d90-3591b80bc438" providerId="ADAL" clId="{F212EC5E-9E74-4E0A-AC52-2E833CDB70C7}" dt="2021-08-25T13:02:32.739" v="0" actId="47"/>
        <pc:sldMkLst>
          <pc:docMk/>
          <pc:sldMk cId="4167436670" sldId="271"/>
        </pc:sldMkLst>
      </pc:sldChg>
      <pc:sldChg chg="modSp mod">
        <pc:chgData name="PROVENCHERE Sandrine" userId="ad1decff-d2ce-4d29-9d90-3591b80bc438" providerId="ADAL" clId="{F212EC5E-9E74-4E0A-AC52-2E833CDB70C7}" dt="2021-08-25T13:11:16.594" v="243" actId="12788"/>
        <pc:sldMkLst>
          <pc:docMk/>
          <pc:sldMk cId="1897431790" sldId="278"/>
        </pc:sldMkLst>
        <pc:spChg chg="mod">
          <ac:chgData name="PROVENCHERE Sandrine" userId="ad1decff-d2ce-4d29-9d90-3591b80bc438" providerId="ADAL" clId="{F212EC5E-9E74-4E0A-AC52-2E833CDB70C7}" dt="2021-08-25T13:09:44.643" v="200" actId="1035"/>
          <ac:spMkLst>
            <pc:docMk/>
            <pc:sldMk cId="1897431790" sldId="278"/>
            <ac:spMk id="11" creationId="{B0654831-2F51-4C9B-BF0E-A6262A6EE384}"/>
          </ac:spMkLst>
        </pc:spChg>
        <pc:spChg chg="mod">
          <ac:chgData name="PROVENCHERE Sandrine" userId="ad1decff-d2ce-4d29-9d90-3591b80bc438" providerId="ADAL" clId="{F212EC5E-9E74-4E0A-AC52-2E833CDB70C7}" dt="2021-08-25T13:09:44.643" v="200" actId="1035"/>
          <ac:spMkLst>
            <pc:docMk/>
            <pc:sldMk cId="1897431790" sldId="278"/>
            <ac:spMk id="12" creationId="{DF10B81B-D4BC-4BEA-913D-3639890701E1}"/>
          </ac:spMkLst>
        </pc:spChg>
        <pc:picChg chg="mod">
          <ac:chgData name="PROVENCHERE Sandrine" userId="ad1decff-d2ce-4d29-9d90-3591b80bc438" providerId="ADAL" clId="{F212EC5E-9E74-4E0A-AC52-2E833CDB70C7}" dt="2021-08-25T13:11:16.594" v="243" actId="12788"/>
          <ac:picMkLst>
            <pc:docMk/>
            <pc:sldMk cId="1897431790" sldId="278"/>
            <ac:picMk id="17" creationId="{5A5C111B-5C56-491C-846C-B2D436F82162}"/>
          </ac:picMkLst>
        </pc:picChg>
      </pc:sldChg>
      <pc:sldChg chg="modSp mod">
        <pc:chgData name="PROVENCHERE Sandrine" userId="ad1decff-d2ce-4d29-9d90-3591b80bc438" providerId="ADAL" clId="{F212EC5E-9E74-4E0A-AC52-2E833CDB70C7}" dt="2021-08-25T13:07:15.929" v="126" actId="20577"/>
        <pc:sldMkLst>
          <pc:docMk/>
          <pc:sldMk cId="2157271150" sldId="279"/>
        </pc:sldMkLst>
        <pc:spChg chg="mod">
          <ac:chgData name="PROVENCHERE Sandrine" userId="ad1decff-d2ce-4d29-9d90-3591b80bc438" providerId="ADAL" clId="{F212EC5E-9E74-4E0A-AC52-2E833CDB70C7}" dt="2021-08-25T13:06:44.700" v="102" actId="403"/>
          <ac:spMkLst>
            <pc:docMk/>
            <pc:sldMk cId="2157271150" sldId="279"/>
            <ac:spMk id="2" creationId="{B69439B7-1A42-439E-8119-15D210E89194}"/>
          </ac:spMkLst>
        </pc:spChg>
        <pc:spChg chg="mod">
          <ac:chgData name="PROVENCHERE Sandrine" userId="ad1decff-d2ce-4d29-9d90-3591b80bc438" providerId="ADAL" clId="{F212EC5E-9E74-4E0A-AC52-2E833CDB70C7}" dt="2021-08-25T13:06:29.979" v="100" actId="20577"/>
          <ac:spMkLst>
            <pc:docMk/>
            <pc:sldMk cId="2157271150" sldId="279"/>
            <ac:spMk id="9" creationId="{A40F099C-110F-4A53-B9DC-78184A7335C7}"/>
          </ac:spMkLst>
        </pc:spChg>
        <pc:spChg chg="mod">
          <ac:chgData name="PROVENCHERE Sandrine" userId="ad1decff-d2ce-4d29-9d90-3591b80bc438" providerId="ADAL" clId="{F212EC5E-9E74-4E0A-AC52-2E833CDB70C7}" dt="2021-08-25T13:07:15.929" v="126" actId="20577"/>
          <ac:spMkLst>
            <pc:docMk/>
            <pc:sldMk cId="2157271150" sldId="279"/>
            <ac:spMk id="15" creationId="{BB1DEA1E-C423-46E6-9D29-1AEA28A09901}"/>
          </ac:spMkLst>
        </pc:spChg>
        <pc:picChg chg="mod">
          <ac:chgData name="PROVENCHERE Sandrine" userId="ad1decff-d2ce-4d29-9d90-3591b80bc438" providerId="ADAL" clId="{F212EC5E-9E74-4E0A-AC52-2E833CDB70C7}" dt="2021-08-25T13:04:07.693" v="40"/>
          <ac:picMkLst>
            <pc:docMk/>
            <pc:sldMk cId="2157271150" sldId="279"/>
            <ac:picMk id="3" creationId="{434CED96-3BEF-4510-B067-51CD234985D1}"/>
          </ac:picMkLst>
        </pc:picChg>
      </pc:sldChg>
      <pc:sldChg chg="modSp">
        <pc:chgData name="PROVENCHERE Sandrine" userId="ad1decff-d2ce-4d29-9d90-3591b80bc438" providerId="ADAL" clId="{F212EC5E-9E74-4E0A-AC52-2E833CDB70C7}" dt="2021-08-25T13:09:17.230" v="172" actId="20577"/>
        <pc:sldMkLst>
          <pc:docMk/>
          <pc:sldMk cId="2125039378" sldId="281"/>
        </pc:sldMkLst>
        <pc:spChg chg="mod">
          <ac:chgData name="PROVENCHERE Sandrine" userId="ad1decff-d2ce-4d29-9d90-3591b80bc438" providerId="ADAL" clId="{F212EC5E-9E74-4E0A-AC52-2E833CDB70C7}" dt="2021-08-25T13:09:13.110" v="165" actId="20577"/>
          <ac:spMkLst>
            <pc:docMk/>
            <pc:sldMk cId="2125039378" sldId="281"/>
            <ac:spMk id="215" creationId="{3ACB9BB0-CDB0-4883-B05F-CC8D953352CC}"/>
          </ac:spMkLst>
        </pc:spChg>
        <pc:spChg chg="mod">
          <ac:chgData name="PROVENCHERE Sandrine" userId="ad1decff-d2ce-4d29-9d90-3591b80bc438" providerId="ADAL" clId="{F212EC5E-9E74-4E0A-AC52-2E833CDB70C7}" dt="2021-08-25T13:08:52.929" v="150" actId="122"/>
          <ac:spMkLst>
            <pc:docMk/>
            <pc:sldMk cId="2125039378" sldId="281"/>
            <ac:spMk id="303" creationId="{72DB8D78-D8C5-41CB-80BF-329C3E3473E6}"/>
          </ac:spMkLst>
        </pc:spChg>
        <pc:spChg chg="mod">
          <ac:chgData name="PROVENCHERE Sandrine" userId="ad1decff-d2ce-4d29-9d90-3591b80bc438" providerId="ADAL" clId="{F212EC5E-9E74-4E0A-AC52-2E833CDB70C7}" dt="2021-08-25T13:09:17.230" v="172" actId="20577"/>
          <ac:spMkLst>
            <pc:docMk/>
            <pc:sldMk cId="2125039378" sldId="281"/>
            <ac:spMk id="400" creationId="{83B68DCD-3DCB-449D-AE05-EF566B039FFD}"/>
          </ac:spMkLst>
        </pc:spChg>
        <pc:spChg chg="mod">
          <ac:chgData name="PROVENCHERE Sandrine" userId="ad1decff-d2ce-4d29-9d90-3591b80bc438" providerId="ADAL" clId="{F212EC5E-9E74-4E0A-AC52-2E833CDB70C7}" dt="2021-08-25T13:09:03.593" v="158" actId="122"/>
          <ac:spMkLst>
            <pc:docMk/>
            <pc:sldMk cId="2125039378" sldId="281"/>
            <ac:spMk id="413" creationId="{281D0572-6F35-46B1-9FB1-5B52F4E93566}"/>
          </ac:spMkLst>
        </pc:spChg>
      </pc:sldChg>
    </pc:docChg>
  </pc:docChgLst>
  <pc:docChgLst>
    <pc:chgData name="PROVENCHERE Sandrine" userId="ad1decff-d2ce-4d29-9d90-3591b80bc438" providerId="ADAL" clId="{D1404128-ED63-4489-852F-74354CF39B80}"/>
    <pc:docChg chg="modSld">
      <pc:chgData name="PROVENCHERE Sandrine" userId="ad1decff-d2ce-4d29-9d90-3591b80bc438" providerId="ADAL" clId="{D1404128-ED63-4489-852F-74354CF39B80}" dt="2022-04-04T15:01:43.406" v="20" actId="20577"/>
      <pc:docMkLst>
        <pc:docMk/>
      </pc:docMkLst>
      <pc:sldChg chg="modSp mod">
        <pc:chgData name="PROVENCHERE Sandrine" userId="ad1decff-d2ce-4d29-9d90-3591b80bc438" providerId="ADAL" clId="{D1404128-ED63-4489-852F-74354CF39B80}" dt="2022-04-04T15:01:43.406" v="20" actId="20577"/>
        <pc:sldMkLst>
          <pc:docMk/>
          <pc:sldMk cId="1897431790" sldId="278"/>
        </pc:sldMkLst>
        <pc:spChg chg="mod">
          <ac:chgData name="PROVENCHERE Sandrine" userId="ad1decff-d2ce-4d29-9d90-3591b80bc438" providerId="ADAL" clId="{D1404128-ED63-4489-852F-74354CF39B80}" dt="2022-04-04T15:01:43.406" v="20" actId="20577"/>
          <ac:spMkLst>
            <pc:docMk/>
            <pc:sldMk cId="1897431790" sldId="278"/>
            <ac:spMk id="11" creationId="{B0654831-2F51-4C9B-BF0E-A6262A6EE38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C2E589-FBB0-4D3E-90AC-7B28391FF1D4}" type="datetimeFigureOut">
              <a:rPr lang="fr-FR" smtClean="0"/>
              <a:t>04/04/2022</a:t>
            </a:fld>
            <a:endParaRPr lang="fr-FR"/>
          </a:p>
        </p:txBody>
      </p:sp>
      <p:sp>
        <p:nvSpPr>
          <p:cNvPr id="4" name="Espace réservé de l'image des diapositives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341ACD-46F5-4839-B342-64E53CE8A865}" type="slidenum">
              <a:rPr lang="fr-FR" smtClean="0"/>
              <a:t>‹N°›</a:t>
            </a:fld>
            <a:endParaRPr lang="fr-FR"/>
          </a:p>
        </p:txBody>
      </p:sp>
    </p:spTree>
    <p:extLst>
      <p:ext uri="{BB962C8B-B14F-4D97-AF65-F5344CB8AC3E}">
        <p14:creationId xmlns:p14="http://schemas.microsoft.com/office/powerpoint/2010/main" val="1465941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0D341ACD-46F5-4839-B342-64E53CE8A865}" type="slidenum">
              <a:rPr lang="fr-FR" smtClean="0"/>
              <a:t>8</a:t>
            </a:fld>
            <a:endParaRPr lang="fr-FR"/>
          </a:p>
        </p:txBody>
      </p:sp>
    </p:spTree>
    <p:extLst>
      <p:ext uri="{BB962C8B-B14F-4D97-AF65-F5344CB8AC3E}">
        <p14:creationId xmlns:p14="http://schemas.microsoft.com/office/powerpoint/2010/main" val="3782720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0D341ACD-46F5-4839-B342-64E53CE8A865}" type="slidenum">
              <a:rPr lang="fr-FR" smtClean="0"/>
              <a:t>10</a:t>
            </a:fld>
            <a:endParaRPr lang="fr-FR"/>
          </a:p>
        </p:txBody>
      </p:sp>
    </p:spTree>
    <p:extLst>
      <p:ext uri="{BB962C8B-B14F-4D97-AF65-F5344CB8AC3E}">
        <p14:creationId xmlns:p14="http://schemas.microsoft.com/office/powerpoint/2010/main" val="3125291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marR="0" lvl="0" indent="-342900" algn="just" defTabSz="914400" rtl="0" eaLnBrk="1" fontAlgn="base" latinLnBrk="0" hangingPunct="1">
              <a:lnSpc>
                <a:spcPct val="90000"/>
              </a:lnSpc>
              <a:spcBef>
                <a:spcPct val="50000"/>
              </a:spcBef>
              <a:spcAft>
                <a:spcPct val="0"/>
              </a:spcAft>
              <a:buClr>
                <a:srgbClr val="C2B477"/>
              </a:buClr>
              <a:buSzTx/>
              <a:buFontTx/>
              <a:buNone/>
              <a:tabLst/>
              <a:defRPr/>
            </a:pPr>
            <a:r>
              <a:rPr lang="fr-FR" sz="2400" kern="0" baseline="0" dirty="0">
                <a:solidFill>
                  <a:srgbClr val="0094D5"/>
                </a:solidFill>
                <a:latin typeface="Calibri" pitchFamily="34" charset="0"/>
              </a:rPr>
              <a:t>La filière recyclée émet 3,6 fois moins que la filière classique, principalement pour deux raisons :</a:t>
            </a:r>
            <a:endParaRPr lang="fr-FR" sz="2400" baseline="0" dirty="0">
              <a:solidFill>
                <a:schemeClr val="tx1">
                  <a:lumMod val="65000"/>
                  <a:lumOff val="35000"/>
                </a:schemeClr>
              </a:solidFill>
              <a:latin typeface="Calibri" pitchFamily="34" charset="0"/>
            </a:endParaRPr>
          </a:p>
          <a:p>
            <a:pPr marL="742950" lvl="1" indent="-285750">
              <a:lnSpc>
                <a:spcPct val="90000"/>
              </a:lnSpc>
              <a:spcBef>
                <a:spcPts val="1800"/>
              </a:spcBef>
              <a:buClr>
                <a:srgbClr val="0094D5"/>
              </a:buClr>
              <a:buSzPct val="80000"/>
              <a:buFont typeface="Wingdings" pitchFamily="2" charset="2"/>
              <a:buChar char="n"/>
              <a:defRPr/>
            </a:pPr>
            <a:r>
              <a:rPr lang="fr-FR" sz="2400" baseline="0" dirty="0">
                <a:solidFill>
                  <a:schemeClr val="tx1">
                    <a:lumMod val="65000"/>
                    <a:lumOff val="35000"/>
                  </a:schemeClr>
                </a:solidFill>
                <a:latin typeface="Calibri" pitchFamily="34" charset="0"/>
              </a:rPr>
              <a:t>La quantité d’énergie (électrique) pour la formation des éponges de titane par le procédé Kroll est prépondérante. Or cette étape est par principe présente dans une moindre mesure dans la filière recyclage.</a:t>
            </a:r>
          </a:p>
          <a:p>
            <a:pPr marL="742950" lvl="1" indent="-285750">
              <a:lnSpc>
                <a:spcPct val="90000"/>
              </a:lnSpc>
              <a:spcBef>
                <a:spcPts val="1800"/>
              </a:spcBef>
              <a:buClr>
                <a:srgbClr val="0094D5"/>
              </a:buClr>
              <a:buSzPct val="80000"/>
              <a:buFont typeface="Wingdings" pitchFamily="2" charset="2"/>
              <a:buChar char="n"/>
              <a:defRPr/>
            </a:pPr>
            <a:r>
              <a:rPr lang="fr-FR" sz="2400" baseline="0" dirty="0">
                <a:solidFill>
                  <a:schemeClr val="tx1">
                    <a:lumMod val="65000"/>
                    <a:lumOff val="35000"/>
                  </a:schemeClr>
                </a:solidFill>
                <a:latin typeface="Calibri" pitchFamily="34" charset="0"/>
              </a:rPr>
              <a:t> L’énergie électrique consommée pour les fusions n’a pas le même contenu carbone pour les deux filières puisque pour l’une, elle est consommée au Kazakhstan, pour l’autre en France. </a:t>
            </a:r>
          </a:p>
          <a:p>
            <a:endParaRPr lang="fr-FR" dirty="0"/>
          </a:p>
        </p:txBody>
      </p:sp>
      <p:sp>
        <p:nvSpPr>
          <p:cNvPr id="4" name="Espace réservé du numéro de diapositive 3"/>
          <p:cNvSpPr>
            <a:spLocks noGrp="1"/>
          </p:cNvSpPr>
          <p:nvPr>
            <p:ph type="sldNum" sz="quarter" idx="5"/>
          </p:nvPr>
        </p:nvSpPr>
        <p:spPr/>
        <p:txBody>
          <a:bodyPr/>
          <a:lstStyle/>
          <a:p>
            <a:fld id="{0D341ACD-46F5-4839-B342-64E53CE8A865}" type="slidenum">
              <a:rPr lang="fr-FR" smtClean="0"/>
              <a:t>15</a:t>
            </a:fld>
            <a:endParaRPr lang="fr-FR"/>
          </a:p>
        </p:txBody>
      </p:sp>
    </p:spTree>
    <p:extLst>
      <p:ext uri="{BB962C8B-B14F-4D97-AF65-F5344CB8AC3E}">
        <p14:creationId xmlns:p14="http://schemas.microsoft.com/office/powerpoint/2010/main" val="18778806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17.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17.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17.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17.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17.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18.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1.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2.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26.png"/><Relationship Id="rId4" Type="http://schemas.openxmlformats.org/officeDocument/2006/relationships/image" Target="../media/image27.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30.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5565375" y="494312"/>
            <a:ext cx="3063050" cy="1260000"/>
          </a:xfrm>
          <a:prstGeom prst="rect">
            <a:avLst/>
          </a:prstGeom>
        </p:spPr>
      </p:pic>
    </p:spTree>
    <p:extLst>
      <p:ext uri="{BB962C8B-B14F-4D97-AF65-F5344CB8AC3E}">
        <p14:creationId xmlns:p14="http://schemas.microsoft.com/office/powerpoint/2010/main" val="36886887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Cliquez pour modifier les styles du texte du masque</a:t>
            </a:r>
          </a:p>
          <a:p>
            <a:pPr lvl="1"/>
            <a:r>
              <a:rPr lang="fr-FR"/>
              <a:t>Deuxième niveau</a:t>
            </a:r>
          </a:p>
        </p:txBody>
      </p:sp>
      <p:sp>
        <p:nvSpPr>
          <p:cNvPr id="10" name="Freeform 9">
            <a:extLst>
              <a:ext uri="{FF2B5EF4-FFF2-40B4-BE49-F238E27FC236}">
                <a16:creationId xmlns:a16="http://schemas.microsoft.com/office/drawing/2014/main" id="{9C4CCAB8-AAD0-40CB-87BA-607E55E83DF7}"/>
              </a:ext>
            </a:extLst>
          </p:cNvPr>
          <p:cNvSpPr>
            <a:spLocks/>
          </p:cNvSpPr>
          <p:nvPr userDrawn="1"/>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blipFill dpi="0" rotWithShape="1">
            <a:blip r:embed="rId3" cstate="screen">
              <a:extLst>
                <a:ext uri="{28A0092B-C50C-407E-A947-70E740481C1C}">
                  <a14:useLocalDpi xmlns:a14="http://schemas.microsoft.com/office/drawing/2010/main"/>
                </a:ext>
              </a:extLst>
            </a:blip>
            <a:srcRect/>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Tree>
    <p:extLst>
      <p:ext uri="{BB962C8B-B14F-4D97-AF65-F5344CB8AC3E}">
        <p14:creationId xmlns:p14="http://schemas.microsoft.com/office/powerpoint/2010/main" val="3064476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2" name="Image 51">
            <a:extLst>
              <a:ext uri="{FF2B5EF4-FFF2-40B4-BE49-F238E27FC236}">
                <a16:creationId xmlns:a16="http://schemas.microsoft.com/office/drawing/2014/main" id="{BF4D347A-9581-4385-99CA-424B0A05193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71999" y="2756118"/>
            <a:ext cx="1800000" cy="207468"/>
          </a:xfrm>
          <a:prstGeom prst="rect">
            <a:avLst/>
          </a:prstGeom>
        </p:spPr>
      </p:pic>
    </p:spTree>
    <p:extLst>
      <p:ext uri="{BB962C8B-B14F-4D97-AF65-F5344CB8AC3E}">
        <p14:creationId xmlns:p14="http://schemas.microsoft.com/office/powerpoint/2010/main" val="38157160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8" name="Imag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7471603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8" name="Imag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4810169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72972914-0DFD-4133-9602-75B075C2562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48342" y="2294995"/>
            <a:ext cx="1800000" cy="207468"/>
          </a:xfrm>
          <a:prstGeom prst="rect">
            <a:avLst/>
          </a:prstGeom>
        </p:spPr>
      </p:pic>
    </p:spTree>
    <p:extLst>
      <p:ext uri="{BB962C8B-B14F-4D97-AF65-F5344CB8AC3E}">
        <p14:creationId xmlns:p14="http://schemas.microsoft.com/office/powerpoint/2010/main" val="19912543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7"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8" name="Image 1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3A30F8F0-C8DF-447F-BC7D-39E767FF88F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39868" y="2294995"/>
            <a:ext cx="1800000" cy="207468"/>
          </a:xfrm>
          <a:prstGeom prst="rect">
            <a:avLst/>
          </a:prstGeom>
        </p:spPr>
      </p:pic>
    </p:spTree>
    <p:extLst>
      <p:ext uri="{BB962C8B-B14F-4D97-AF65-F5344CB8AC3E}">
        <p14:creationId xmlns:p14="http://schemas.microsoft.com/office/powerpoint/2010/main" val="26863264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265819783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6137934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2768585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9363035" y="28361"/>
            <a:ext cx="4214248"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2548039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9363035" y="28361"/>
            <a:ext cx="4214248"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714005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55642874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1940027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7381156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09307394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11510256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057366"/>
            <a:ext cx="2016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a:xfrm>
            <a:off x="862088" y="6192682"/>
            <a:ext cx="3420000" cy="440684"/>
          </a:xfrm>
        </p:spPr>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1886197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5330138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20788648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72856038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EcoTitanium / UKAD : les avantages de la filière Titane</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8802443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15740791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99783089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41859405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62625808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923362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pic>
        <p:nvPicPr>
          <p:cNvPr id="18" name="Imag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2757" y="2106945"/>
            <a:ext cx="1980000" cy="731871"/>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30543963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9B0210AC-A5F0-4839-B753-5EDD81623C3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94447" y="2294995"/>
            <a:ext cx="1800000" cy="207468"/>
          </a:xfrm>
          <a:prstGeom prst="rect">
            <a:avLst/>
          </a:prstGeom>
        </p:spPr>
      </p:pic>
    </p:spTree>
    <p:extLst>
      <p:ext uri="{BB962C8B-B14F-4D97-AF65-F5344CB8AC3E}">
        <p14:creationId xmlns:p14="http://schemas.microsoft.com/office/powerpoint/2010/main" val="429381014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sp>
        <p:nvSpPr>
          <p:cNvPr id="16"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8" name="Image 1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980730"/>
            <a:ext cx="1983050" cy="899999"/>
          </a:xfrm>
          <a:prstGeom prst="rect">
            <a:avLst/>
          </a:prstGeom>
        </p:spPr>
      </p:pic>
      <p:grpSp>
        <p:nvGrpSpPr>
          <p:cNvPr id="58" name="Groupe 57"/>
          <p:cNvGrpSpPr/>
          <p:nvPr/>
        </p:nvGrpSpPr>
        <p:grpSpPr>
          <a:xfrm>
            <a:off x="9363035" y="28361"/>
            <a:ext cx="4214248" cy="1943442"/>
            <a:chOff x="9363034" y="28361"/>
            <a:chExt cx="4214248" cy="1943442"/>
          </a:xfrm>
        </p:grpSpPr>
        <p:sp>
          <p:nvSpPr>
            <p:cNvPr id="59"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60"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1"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2"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3"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4"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5"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6"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7"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8"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9"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70"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1"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2"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3"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4"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6"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7"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8"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9"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80"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1"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2"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3"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4"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5"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2"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3"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4"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5"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6"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7"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8"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9"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100"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49124716-8510-4CF5-AFBC-5DC8E3F63C5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94447" y="2294995"/>
            <a:ext cx="1800000" cy="207468"/>
          </a:xfrm>
          <a:prstGeom prst="rect">
            <a:avLst/>
          </a:prstGeom>
        </p:spPr>
      </p:pic>
    </p:spTree>
    <p:extLst>
      <p:ext uri="{BB962C8B-B14F-4D97-AF65-F5344CB8AC3E}">
        <p14:creationId xmlns:p14="http://schemas.microsoft.com/office/powerpoint/2010/main" val="187208092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13" name="Groupe 12"/>
          <p:cNvGrpSpPr/>
          <p:nvPr/>
        </p:nvGrpSpPr>
        <p:grpSpPr>
          <a:xfrm>
            <a:off x="2521881" y="2559571"/>
            <a:ext cx="4100238" cy="900000"/>
            <a:chOff x="3580474" y="2559571"/>
            <a:chExt cx="4100238" cy="900000"/>
          </a:xfrm>
        </p:grpSpPr>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4" y="2559571"/>
              <a:ext cx="1983052" cy="900000"/>
            </a:xfrm>
            <a:prstGeom prst="rect">
              <a:avLst/>
            </a:prstGeom>
          </p:spPr>
        </p:pic>
        <p:pic>
          <p:nvPicPr>
            <p:cNvPr id="15" name="Image 1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0712" y="2643635"/>
              <a:ext cx="1980000" cy="731871"/>
            </a:xfrm>
            <a:prstGeom prst="rect">
              <a:avLst/>
            </a:prstGeom>
          </p:spPr>
        </p:pic>
      </p:gr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6327462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grpSp>
        <p:nvGrpSpPr>
          <p:cNvPr id="14" name="Groupe 13"/>
          <p:cNvGrpSpPr/>
          <p:nvPr/>
        </p:nvGrpSpPr>
        <p:grpSpPr>
          <a:xfrm>
            <a:off x="2521881" y="2559571"/>
            <a:ext cx="4100238" cy="900000"/>
            <a:chOff x="3580474" y="2559571"/>
            <a:chExt cx="4100238" cy="900000"/>
          </a:xfrm>
        </p:grpSpPr>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4" y="2559571"/>
              <a:ext cx="1983052" cy="900000"/>
            </a:xfrm>
            <a:prstGeom prst="rect">
              <a:avLst/>
            </a:prstGeom>
          </p:spPr>
        </p:pic>
        <p:pic>
          <p:nvPicPr>
            <p:cNvPr id="17" name="Image 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0712" y="2643635"/>
              <a:ext cx="1980000" cy="731871"/>
            </a:xfrm>
            <a:prstGeom prst="rect">
              <a:avLst/>
            </a:prstGeom>
          </p:spPr>
        </p:pic>
      </p:gr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9323459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21031" y="2556656"/>
            <a:ext cx="1983050" cy="900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26787DF7-B9EC-4835-A64B-898D5D0F24C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07151" y="2893807"/>
            <a:ext cx="1800000" cy="207468"/>
          </a:xfrm>
          <a:prstGeom prst="rect">
            <a:avLst/>
          </a:prstGeom>
        </p:spPr>
      </p:pic>
    </p:spTree>
    <p:extLst>
      <p:ext uri="{BB962C8B-B14F-4D97-AF65-F5344CB8AC3E}">
        <p14:creationId xmlns:p14="http://schemas.microsoft.com/office/powerpoint/2010/main" val="41301515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21031" y="2556656"/>
            <a:ext cx="1983050" cy="900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AC740C30-FCF6-4716-A2BB-9B08FAB5A54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07151" y="2893807"/>
            <a:ext cx="1800000" cy="207468"/>
          </a:xfrm>
          <a:prstGeom prst="rect">
            <a:avLst/>
          </a:prstGeom>
        </p:spPr>
      </p:pic>
    </p:spTree>
    <p:extLst>
      <p:ext uri="{BB962C8B-B14F-4D97-AF65-F5344CB8AC3E}">
        <p14:creationId xmlns:p14="http://schemas.microsoft.com/office/powerpoint/2010/main" val="9914324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29643951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015B02BA-9FB0-49D4-8BE0-0FB75166CED2}"/>
              </a:ext>
            </a:extLst>
          </p:cNvPr>
          <p:cNvGraphicFramePr>
            <a:graphicFrameLocks noChangeAspect="1"/>
          </p:cNvGraphicFramePr>
          <p:nvPr>
            <p:custDataLst>
              <p:tags r:id="rId1"/>
            </p:custDataLst>
            <p:extLst>
              <p:ext uri="{D42A27DB-BD31-4B8C-83A1-F6EECF244321}">
                <p14:modId xmlns:p14="http://schemas.microsoft.com/office/powerpoint/2010/main" val="85545893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7" name="Objet 6" hidden="1">
                        <a:extLst>
                          <a:ext uri="{FF2B5EF4-FFF2-40B4-BE49-F238E27FC236}">
                            <a16:creationId xmlns:a16="http://schemas.microsoft.com/office/drawing/2014/main" id="{015B02BA-9FB0-49D4-8BE0-0FB75166CED2}"/>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1823579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EAADE8E3-FA1E-4887-AE6E-2C7C904EAC11}"/>
              </a:ext>
            </a:extLst>
          </p:cNvPr>
          <p:cNvGraphicFramePr>
            <a:graphicFrameLocks noChangeAspect="1"/>
          </p:cNvGraphicFramePr>
          <p:nvPr>
            <p:custDataLst>
              <p:tags r:id="rId1"/>
            </p:custDataLst>
            <p:extLst>
              <p:ext uri="{D42A27DB-BD31-4B8C-83A1-F6EECF244321}">
                <p14:modId xmlns:p14="http://schemas.microsoft.com/office/powerpoint/2010/main" val="8550655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7" name="Objet 6" hidden="1">
                        <a:extLst>
                          <a:ext uri="{FF2B5EF4-FFF2-40B4-BE49-F238E27FC236}">
                            <a16:creationId xmlns:a16="http://schemas.microsoft.com/office/drawing/2014/main" id="{EAADE8E3-FA1E-4887-AE6E-2C7C904EAC11}"/>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797990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648802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3136665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3302820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1661723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Cliquez pour 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6262145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EcoTitanium / UKAD : les avantages de la filière Titane</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39160822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5565375" y="494312"/>
            <a:ext cx="3063050" cy="1260000"/>
          </a:xfrm>
          <a:prstGeom prst="rect">
            <a:avLst/>
          </a:prstGeom>
        </p:spPr>
      </p:pic>
    </p:spTree>
    <p:extLst>
      <p:ext uri="{BB962C8B-B14F-4D97-AF65-F5344CB8AC3E}">
        <p14:creationId xmlns:p14="http://schemas.microsoft.com/office/powerpoint/2010/main" val="35250888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37741946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7477968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192682"/>
            <a:ext cx="3240000" cy="4392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178890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85604" y="5542604"/>
            <a:ext cx="1925343" cy="791998"/>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0243588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85604" y="5542604"/>
            <a:ext cx="1925343" cy="791998"/>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8367584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85604" y="5542603"/>
            <a:ext cx="1925343" cy="7920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20508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85604" y="5542603"/>
            <a:ext cx="1925343" cy="792000"/>
          </a:xfrm>
          <a:prstGeom prst="rect">
            <a:avLst/>
          </a:prstGeom>
        </p:spPr>
      </p:pic>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9528881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0"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7807586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0"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9720632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1"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2595515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5565374" y="494312"/>
            <a:ext cx="3063051" cy="1260000"/>
          </a:xfrm>
          <a:prstGeom prst="rect">
            <a:avLst/>
          </a:prstGeom>
        </p:spPr>
      </p:pic>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Tree>
    <p:extLst>
      <p:ext uri="{BB962C8B-B14F-4D97-AF65-F5344CB8AC3E}">
        <p14:creationId xmlns:p14="http://schemas.microsoft.com/office/powerpoint/2010/main" val="34326109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189337" y="2206800"/>
            <a:ext cx="3063051" cy="1260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8862598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POWER_USER_LAYOUT_DIVIDER">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5A3C89B-38DE-458D-A8F5-923F7FF5B3DC}"/>
              </a:ext>
            </a:extLst>
          </p:cNvPr>
          <p:cNvGraphicFramePr>
            <a:graphicFrameLocks noChangeAspect="1"/>
          </p:cNvGraphicFramePr>
          <p:nvPr>
            <p:custDataLst>
              <p:tags r:id="rId1"/>
            </p:custDataLst>
            <p:extLst>
              <p:ext uri="{D42A27DB-BD31-4B8C-83A1-F6EECF244321}">
                <p14:modId xmlns:p14="http://schemas.microsoft.com/office/powerpoint/2010/main" val="7463706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4" name="Objet 3" hidden="1">
                        <a:extLst>
                          <a:ext uri="{FF2B5EF4-FFF2-40B4-BE49-F238E27FC236}">
                            <a16:creationId xmlns:a16="http://schemas.microsoft.com/office/drawing/2014/main" id="{15A3C89B-38DE-458D-A8F5-923F7FF5B3D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851683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B0277A9-8D34-4EB1-8001-2B4DDEB55B71}"/>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46A91416-45C0-49C3-B695-9E1B36FF272D}"/>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CF480336-5226-4F63-A0A0-CB0BF12E940E}"/>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5" name="Espace réservé du pied de page 4">
            <a:extLst>
              <a:ext uri="{FF2B5EF4-FFF2-40B4-BE49-F238E27FC236}">
                <a16:creationId xmlns:a16="http://schemas.microsoft.com/office/drawing/2014/main" id="{03B2AD79-6D73-4FB7-A984-ED00EC98C7DD}"/>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6" name="Espace réservé du numéro de diapositive 5">
            <a:extLst>
              <a:ext uri="{FF2B5EF4-FFF2-40B4-BE49-F238E27FC236}">
                <a16:creationId xmlns:a16="http://schemas.microsoft.com/office/drawing/2014/main" id="{B5D92C93-C18C-40CC-B262-9CC1E07BAEF1}"/>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42039255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EEA7A6-E47A-4FBF-A939-3722CBDF2E7B}"/>
              </a:ext>
            </a:extLst>
          </p:cNvPr>
          <p:cNvSpPr>
            <a:spLocks noGrp="1"/>
          </p:cNvSpPr>
          <p:nvPr>
            <p:ph type="title"/>
          </p:nvPr>
        </p:nvSpPr>
        <p:spPr>
          <a:xfrm>
            <a:off x="628650" y="365125"/>
            <a:ext cx="7886700" cy="1325563"/>
          </a:xfrm>
          <a:prstGeom prst="rect">
            <a:avLst/>
          </a:prstGeom>
        </p:spPr>
        <p:txBody>
          <a:bodyPr/>
          <a:lstStyle/>
          <a:p>
            <a:r>
              <a:rPr lang="fr-FR"/>
              <a:t>Modifiez le style du titre</a:t>
            </a:r>
          </a:p>
        </p:txBody>
      </p:sp>
      <p:sp>
        <p:nvSpPr>
          <p:cNvPr id="3" name="Espace réservé du contenu 2">
            <a:extLst>
              <a:ext uri="{FF2B5EF4-FFF2-40B4-BE49-F238E27FC236}">
                <a16:creationId xmlns:a16="http://schemas.microsoft.com/office/drawing/2014/main" id="{A675AFCE-4AF1-4E93-890C-7214B1EF4E6F}"/>
              </a:ext>
            </a:extLst>
          </p:cNvPr>
          <p:cNvSpPr>
            <a:spLocks noGrp="1"/>
          </p:cNvSpPr>
          <p:nvPr>
            <p:ph idx="1"/>
          </p:nvPr>
        </p:nvSpPr>
        <p:spPr>
          <a:xfrm>
            <a:off x="628650" y="1825625"/>
            <a:ext cx="7886700" cy="4351338"/>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47C88CB-2221-482A-93CB-0885C5B94C17}"/>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5" name="Espace réservé du pied de page 4">
            <a:extLst>
              <a:ext uri="{FF2B5EF4-FFF2-40B4-BE49-F238E27FC236}">
                <a16:creationId xmlns:a16="http://schemas.microsoft.com/office/drawing/2014/main" id="{51692369-7203-4269-8026-298C6F29ACDE}"/>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6" name="Espace réservé du numéro de diapositive 5">
            <a:extLst>
              <a:ext uri="{FF2B5EF4-FFF2-40B4-BE49-F238E27FC236}">
                <a16:creationId xmlns:a16="http://schemas.microsoft.com/office/drawing/2014/main" id="{A9816B5C-7B5E-4703-B652-8B2C45313D0C}"/>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4847751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D9F67CE-4853-4FA7-8EB8-7CBD12ACB4F4}"/>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3D2CCD78-3492-444D-AA18-FD3458D68B9A}"/>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43EB1927-AB4D-43AF-8618-1FDE459DC1EF}"/>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5" name="Espace réservé du pied de page 4">
            <a:extLst>
              <a:ext uri="{FF2B5EF4-FFF2-40B4-BE49-F238E27FC236}">
                <a16:creationId xmlns:a16="http://schemas.microsoft.com/office/drawing/2014/main" id="{DA628830-5DFB-4CF7-B821-B6D093817CE8}"/>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6" name="Espace réservé du numéro de diapositive 5">
            <a:extLst>
              <a:ext uri="{FF2B5EF4-FFF2-40B4-BE49-F238E27FC236}">
                <a16:creationId xmlns:a16="http://schemas.microsoft.com/office/drawing/2014/main" id="{5CD1C487-82E4-4002-BA18-23134699714A}"/>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33279359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04511-1830-4D6D-84AC-43574F67E4BE}"/>
              </a:ext>
            </a:extLst>
          </p:cNvPr>
          <p:cNvSpPr>
            <a:spLocks noGrp="1"/>
          </p:cNvSpPr>
          <p:nvPr>
            <p:ph type="title"/>
          </p:nvPr>
        </p:nvSpPr>
        <p:spPr>
          <a:xfrm>
            <a:off x="628650" y="365125"/>
            <a:ext cx="7886700" cy="1325563"/>
          </a:xfrm>
          <a:prstGeom prst="rect">
            <a:avLst/>
          </a:prstGeom>
        </p:spPr>
        <p:txBody>
          <a:bodyPr/>
          <a:lstStyle/>
          <a:p>
            <a:r>
              <a:rPr lang="fr-FR"/>
              <a:t>Modifiez le style du titre</a:t>
            </a:r>
          </a:p>
        </p:txBody>
      </p:sp>
      <p:sp>
        <p:nvSpPr>
          <p:cNvPr id="3" name="Espace réservé du contenu 2">
            <a:extLst>
              <a:ext uri="{FF2B5EF4-FFF2-40B4-BE49-F238E27FC236}">
                <a16:creationId xmlns:a16="http://schemas.microsoft.com/office/drawing/2014/main" id="{3BD853FD-0EF4-409B-A123-171A3265F3F7}"/>
              </a:ext>
            </a:extLst>
          </p:cNvPr>
          <p:cNvSpPr>
            <a:spLocks noGrp="1"/>
          </p:cNvSpPr>
          <p:nvPr>
            <p:ph sz="half" idx="1"/>
          </p:nvPr>
        </p:nvSpPr>
        <p:spPr>
          <a:xfrm>
            <a:off x="628650" y="1825625"/>
            <a:ext cx="3867150" cy="4351338"/>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BB448ECF-DDE9-4B75-B36B-E3640F1B4FF6}"/>
              </a:ext>
            </a:extLst>
          </p:cNvPr>
          <p:cNvSpPr>
            <a:spLocks noGrp="1"/>
          </p:cNvSpPr>
          <p:nvPr>
            <p:ph sz="half" idx="2"/>
          </p:nvPr>
        </p:nvSpPr>
        <p:spPr>
          <a:xfrm>
            <a:off x="4648200" y="1825625"/>
            <a:ext cx="3867150" cy="4351338"/>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85AE5695-D86C-4233-872F-FDAF3B137F3A}"/>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6" name="Espace réservé du pied de page 5">
            <a:extLst>
              <a:ext uri="{FF2B5EF4-FFF2-40B4-BE49-F238E27FC236}">
                <a16:creationId xmlns:a16="http://schemas.microsoft.com/office/drawing/2014/main" id="{FC39B4B1-8E0C-4B78-B298-E2CBDECFFBB3}"/>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7" name="Espace réservé du numéro de diapositive 6">
            <a:extLst>
              <a:ext uri="{FF2B5EF4-FFF2-40B4-BE49-F238E27FC236}">
                <a16:creationId xmlns:a16="http://schemas.microsoft.com/office/drawing/2014/main" id="{04953DB9-0172-4A0B-B4D6-F4785E6EFEDD}"/>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34104133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062231-6AAB-4A4C-AF70-C2ACC64C7D66}"/>
              </a:ext>
            </a:extLst>
          </p:cNvPr>
          <p:cNvSpPr>
            <a:spLocks noGrp="1"/>
          </p:cNvSpPr>
          <p:nvPr>
            <p:ph type="title"/>
          </p:nvPr>
        </p:nvSpPr>
        <p:spPr>
          <a:xfrm>
            <a:off x="630238" y="365125"/>
            <a:ext cx="7886700" cy="1325563"/>
          </a:xfrm>
          <a:prstGeom prst="rect">
            <a:avLst/>
          </a:prstGeom>
        </p:spPr>
        <p:txBody>
          <a:bodyPr/>
          <a:lstStyle/>
          <a:p>
            <a:r>
              <a:rPr lang="fr-FR"/>
              <a:t>Modifiez le style du titre</a:t>
            </a:r>
          </a:p>
        </p:txBody>
      </p:sp>
      <p:sp>
        <p:nvSpPr>
          <p:cNvPr id="3" name="Espace réservé du texte 2">
            <a:extLst>
              <a:ext uri="{FF2B5EF4-FFF2-40B4-BE49-F238E27FC236}">
                <a16:creationId xmlns:a16="http://schemas.microsoft.com/office/drawing/2014/main" id="{5B7CA1F9-70BD-4492-847A-84024CBEE9B6}"/>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53AA188F-C62E-4743-A4B5-DC058D3DEB66}"/>
              </a:ext>
            </a:extLst>
          </p:cNvPr>
          <p:cNvSpPr>
            <a:spLocks noGrp="1"/>
          </p:cNvSpPr>
          <p:nvPr>
            <p:ph sz="half" idx="2"/>
          </p:nvPr>
        </p:nvSpPr>
        <p:spPr>
          <a:xfrm>
            <a:off x="630238" y="2505075"/>
            <a:ext cx="3868737" cy="3684588"/>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DA3251F7-5468-470B-BDA6-2808512A0E06}"/>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EFE7AA3C-02FF-4FE6-859B-3423333E8713}"/>
              </a:ext>
            </a:extLst>
          </p:cNvPr>
          <p:cNvSpPr>
            <a:spLocks noGrp="1"/>
          </p:cNvSpPr>
          <p:nvPr>
            <p:ph sz="quarter" idx="4"/>
          </p:nvPr>
        </p:nvSpPr>
        <p:spPr>
          <a:xfrm>
            <a:off x="4629150" y="2505075"/>
            <a:ext cx="3887788" cy="3684588"/>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DBB83AB0-692B-44FE-A1B2-FFA1C347B39D}"/>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8" name="Espace réservé du pied de page 7">
            <a:extLst>
              <a:ext uri="{FF2B5EF4-FFF2-40B4-BE49-F238E27FC236}">
                <a16:creationId xmlns:a16="http://schemas.microsoft.com/office/drawing/2014/main" id="{7C60CD2A-2460-4E25-8765-77AD4D38DA9F}"/>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9" name="Espace réservé du numéro de diapositive 8">
            <a:extLst>
              <a:ext uri="{FF2B5EF4-FFF2-40B4-BE49-F238E27FC236}">
                <a16:creationId xmlns:a16="http://schemas.microsoft.com/office/drawing/2014/main" id="{E902C00E-8464-4B9E-AFE0-1ECF5941EB75}"/>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13397705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D1A53F50-F791-495D-AB82-6097C7FE2225}"/>
              </a:ext>
            </a:extLst>
          </p:cNvPr>
          <p:cNvGraphicFramePr>
            <a:graphicFrameLocks noChangeAspect="1"/>
          </p:cNvGraphicFramePr>
          <p:nvPr userDrawn="1">
            <p:custDataLst>
              <p:tags r:id="rId1"/>
            </p:custDataLst>
            <p:extLst>
              <p:ext uri="{D42A27DB-BD31-4B8C-83A1-F6EECF244321}">
                <p14:modId xmlns:p14="http://schemas.microsoft.com/office/powerpoint/2010/main" val="4204897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8" name="Objet 7" hidden="1">
                        <a:extLst>
                          <a:ext uri="{FF2B5EF4-FFF2-40B4-BE49-F238E27FC236}">
                            <a16:creationId xmlns:a16="http://schemas.microsoft.com/office/drawing/2014/main" id="{D1A53F50-F791-495D-AB82-6097C7FE2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143861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3AB89003-572D-41EA-9784-C640BBD91E17}"/>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3" name="Espace réservé du pied de page 2">
            <a:extLst>
              <a:ext uri="{FF2B5EF4-FFF2-40B4-BE49-F238E27FC236}">
                <a16:creationId xmlns:a16="http://schemas.microsoft.com/office/drawing/2014/main" id="{A7269366-DCE4-4265-AC6C-56C90F2D2EA2}"/>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4" name="Espace réservé du numéro de diapositive 3">
            <a:extLst>
              <a:ext uri="{FF2B5EF4-FFF2-40B4-BE49-F238E27FC236}">
                <a16:creationId xmlns:a16="http://schemas.microsoft.com/office/drawing/2014/main" id="{BCB3BCCD-956D-4EC6-8BE8-BA1FFF4E4DD8}"/>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12761265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F6CC00-80B1-4BF0-A7EA-B5E2BBCE72B5}"/>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59C7B1F-E3A9-43F2-A91F-70764228AF32}"/>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7CA19F26-4827-4FB6-82A7-E532AF83B799}"/>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73DAD13-2C4A-4330-B35E-1E018620329F}"/>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6" name="Espace réservé du pied de page 5">
            <a:extLst>
              <a:ext uri="{FF2B5EF4-FFF2-40B4-BE49-F238E27FC236}">
                <a16:creationId xmlns:a16="http://schemas.microsoft.com/office/drawing/2014/main" id="{2627B5C1-1B89-4691-9C10-FC23D8873ED3}"/>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7" name="Espace réservé du numéro de diapositive 6">
            <a:extLst>
              <a:ext uri="{FF2B5EF4-FFF2-40B4-BE49-F238E27FC236}">
                <a16:creationId xmlns:a16="http://schemas.microsoft.com/office/drawing/2014/main" id="{5B5A8D62-97B3-4B0F-9828-2182EA1B7BF0}"/>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3253473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2DA1E88-2E22-41AA-8EB9-BBF0FC4B7CFB}"/>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06D162D6-9E0F-4D77-8AC3-B88D55FB0FC8}"/>
              </a:ext>
            </a:extLst>
          </p:cNvPr>
          <p:cNvSpPr>
            <a:spLocks noGrp="1"/>
          </p:cNvSpPr>
          <p:nvPr>
            <p:ph type="dt" sz="half" idx="10"/>
          </p:nvPr>
        </p:nvSpPr>
        <p:spPr/>
        <p:txBody>
          <a:bodyPr/>
          <a:lstStyle/>
          <a:p>
            <a:r>
              <a:rPr lang="fr-FR"/>
              <a:t>Date</a:t>
            </a:r>
            <a:endParaRPr lang="fr-FR" dirty="0"/>
          </a:p>
        </p:txBody>
      </p:sp>
      <p:sp>
        <p:nvSpPr>
          <p:cNvPr id="4" name="Espace réservé du pied de page 3">
            <a:extLst>
              <a:ext uri="{FF2B5EF4-FFF2-40B4-BE49-F238E27FC236}">
                <a16:creationId xmlns:a16="http://schemas.microsoft.com/office/drawing/2014/main" id="{C57A871A-61BB-4E71-BABB-DA08FF113370}"/>
              </a:ext>
            </a:extLst>
          </p:cNvPr>
          <p:cNvSpPr>
            <a:spLocks noGrp="1"/>
          </p:cNvSpPr>
          <p:nvPr>
            <p:ph type="ftr" sz="quarter" idx="11"/>
          </p:nvPr>
        </p:nvSpPr>
        <p:spPr/>
        <p:txBody>
          <a:bodyPr/>
          <a:lstStyle/>
          <a:p>
            <a:pPr algn="l"/>
            <a:r>
              <a:rPr lang="fr-FR"/>
              <a:t>EcoTitanium / UKAD : les avantages de la filière Titane</a:t>
            </a:r>
            <a:endParaRPr lang="fr-FR" dirty="0"/>
          </a:p>
        </p:txBody>
      </p:sp>
      <p:sp>
        <p:nvSpPr>
          <p:cNvPr id="5" name="Espace réservé du numéro de diapositive 4">
            <a:extLst>
              <a:ext uri="{FF2B5EF4-FFF2-40B4-BE49-F238E27FC236}">
                <a16:creationId xmlns:a16="http://schemas.microsoft.com/office/drawing/2014/main" id="{A601F1CE-28DA-4689-B600-B168D793D3EA}"/>
              </a:ext>
            </a:extLst>
          </p:cNvPr>
          <p:cNvSpPr>
            <a:spLocks noGrp="1"/>
          </p:cNvSpPr>
          <p:nvPr>
            <p:ph type="sldNum" sz="quarter" idx="12"/>
          </p:nvPr>
        </p:nvSpPr>
        <p:spPr/>
        <p:txBody>
          <a:bodyPr/>
          <a:lstStyle/>
          <a:p>
            <a:fld id="{733122C9-A0B9-462F-8757-0847AD287B63}" type="slidenum">
              <a:rPr lang="fr-FR" smtClean="0"/>
              <a:pPr/>
              <a:t>‹N°›</a:t>
            </a:fld>
            <a:endParaRPr lang="fr-FR" dirty="0"/>
          </a:p>
        </p:txBody>
      </p:sp>
      <p:cxnSp>
        <p:nvCxnSpPr>
          <p:cNvPr id="6" name="Connecteur droit 5">
            <a:extLst>
              <a:ext uri="{FF2B5EF4-FFF2-40B4-BE49-F238E27FC236}">
                <a16:creationId xmlns:a16="http://schemas.microsoft.com/office/drawing/2014/main" id="{8641C69C-4680-4240-8CC8-CD3C4D2FFBD3}"/>
              </a:ext>
            </a:extLst>
          </p:cNvPr>
          <p:cNvCxnSpPr/>
          <p:nvPr userDrawn="1"/>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557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9FC71EA-DEA7-4A3A-B218-6ABEC0F87A9C}"/>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C6459FE2-E8B4-415A-8CEA-5BCA80EDF000}"/>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4F60A6E9-0A60-4861-A12D-DE348D1E6E05}"/>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2365538-B010-453E-BC19-AA36020BE2F0}"/>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6" name="Espace réservé du pied de page 5">
            <a:extLst>
              <a:ext uri="{FF2B5EF4-FFF2-40B4-BE49-F238E27FC236}">
                <a16:creationId xmlns:a16="http://schemas.microsoft.com/office/drawing/2014/main" id="{CBBC3933-EB06-446F-B9F8-C6D2129BF92F}"/>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7" name="Espace réservé du numéro de diapositive 6">
            <a:extLst>
              <a:ext uri="{FF2B5EF4-FFF2-40B4-BE49-F238E27FC236}">
                <a16:creationId xmlns:a16="http://schemas.microsoft.com/office/drawing/2014/main" id="{75F9BE03-AD07-4C00-8ACF-8333F6484A3B}"/>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24320938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25A1B1-48DB-4843-83EE-59D578ACA946}"/>
              </a:ext>
            </a:extLst>
          </p:cNvPr>
          <p:cNvSpPr>
            <a:spLocks noGrp="1"/>
          </p:cNvSpPr>
          <p:nvPr>
            <p:ph type="title"/>
          </p:nvPr>
        </p:nvSpPr>
        <p:spPr>
          <a:xfrm>
            <a:off x="628650" y="365125"/>
            <a:ext cx="7886700" cy="1325563"/>
          </a:xfrm>
          <a:prstGeom prst="rect">
            <a:avLst/>
          </a:prstGeom>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2A165554-6946-4E20-83F2-CAAA637E6C0D}"/>
              </a:ext>
            </a:extLst>
          </p:cNvPr>
          <p:cNvSpPr>
            <a:spLocks noGrp="1"/>
          </p:cNvSpPr>
          <p:nvPr>
            <p:ph type="body" orient="vert" idx="1"/>
          </p:nvPr>
        </p:nvSpPr>
        <p:spPr>
          <a:xfrm>
            <a:off x="628650" y="1825625"/>
            <a:ext cx="7886700" cy="4351338"/>
          </a:xfrm>
          <a:prstGeom prst="rect">
            <a:avLst/>
          </a:prstGeo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828238A-4F1F-4C8C-8CF5-A4BDD0D989C0}"/>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5" name="Espace réservé du pied de page 4">
            <a:extLst>
              <a:ext uri="{FF2B5EF4-FFF2-40B4-BE49-F238E27FC236}">
                <a16:creationId xmlns:a16="http://schemas.microsoft.com/office/drawing/2014/main" id="{32EC2C00-B6ED-43D8-BDC2-D0947620D01F}"/>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6" name="Espace réservé du numéro de diapositive 5">
            <a:extLst>
              <a:ext uri="{FF2B5EF4-FFF2-40B4-BE49-F238E27FC236}">
                <a16:creationId xmlns:a16="http://schemas.microsoft.com/office/drawing/2014/main" id="{4EC88513-192B-4CB2-8BA1-B9382495F15A}"/>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38527132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B566E6D9-BB59-4502-8187-1F8747923F2C}"/>
              </a:ext>
            </a:extLst>
          </p:cNvPr>
          <p:cNvSpPr>
            <a:spLocks noGrp="1"/>
          </p:cNvSpPr>
          <p:nvPr>
            <p:ph type="title" orient="vert"/>
          </p:nvPr>
        </p:nvSpPr>
        <p:spPr>
          <a:xfrm>
            <a:off x="6543675" y="365125"/>
            <a:ext cx="1971675" cy="5811838"/>
          </a:xfrm>
          <a:prstGeom prst="rect">
            <a:avLst/>
          </a:prstGeo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C18D9F37-0EB1-42D4-9000-C815D6015669}"/>
              </a:ext>
            </a:extLst>
          </p:cNvPr>
          <p:cNvSpPr>
            <a:spLocks noGrp="1"/>
          </p:cNvSpPr>
          <p:nvPr>
            <p:ph type="body" orient="vert" idx="1"/>
          </p:nvPr>
        </p:nvSpPr>
        <p:spPr>
          <a:xfrm>
            <a:off x="628650" y="365125"/>
            <a:ext cx="5762625" cy="5811838"/>
          </a:xfrm>
          <a:prstGeom prst="rect">
            <a:avLst/>
          </a:prstGeo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5D35F6F8-D6C3-4C28-9B12-20F7568E3808}"/>
              </a:ext>
            </a:extLst>
          </p:cNvPr>
          <p:cNvSpPr>
            <a:spLocks noGrp="1"/>
          </p:cNvSpPr>
          <p:nvPr>
            <p:ph type="dt" sz="half" idx="10"/>
          </p:nvPr>
        </p:nvSpPr>
        <p:spPr>
          <a:xfrm>
            <a:off x="628650" y="6356350"/>
            <a:ext cx="2057400" cy="365125"/>
          </a:xfrm>
          <a:prstGeom prst="rect">
            <a:avLst/>
          </a:prstGeom>
        </p:spPr>
        <p:txBody>
          <a:bodyPr/>
          <a:lstStyle/>
          <a:p>
            <a:r>
              <a:rPr lang="fr-FR"/>
              <a:t>Date</a:t>
            </a:r>
          </a:p>
        </p:txBody>
      </p:sp>
      <p:sp>
        <p:nvSpPr>
          <p:cNvPr id="5" name="Espace réservé du pied de page 4">
            <a:extLst>
              <a:ext uri="{FF2B5EF4-FFF2-40B4-BE49-F238E27FC236}">
                <a16:creationId xmlns:a16="http://schemas.microsoft.com/office/drawing/2014/main" id="{5EC99747-6EC4-44C4-ADE5-98D623D4F20F}"/>
              </a:ext>
            </a:extLst>
          </p:cNvPr>
          <p:cNvSpPr>
            <a:spLocks noGrp="1"/>
          </p:cNvSpPr>
          <p:nvPr>
            <p:ph type="ftr" sz="quarter" idx="11"/>
          </p:nvPr>
        </p:nvSpPr>
        <p:spPr>
          <a:xfrm>
            <a:off x="3028950" y="6356350"/>
            <a:ext cx="3086100" cy="365125"/>
          </a:xfrm>
          <a:prstGeom prst="rect">
            <a:avLst/>
          </a:prstGeom>
        </p:spPr>
        <p:txBody>
          <a:bodyPr/>
          <a:lstStyle/>
          <a:p>
            <a:r>
              <a:rPr lang="fr-FR"/>
              <a:t>EcoTitanium / UKAD : les avantages de la filière Titane</a:t>
            </a:r>
          </a:p>
        </p:txBody>
      </p:sp>
      <p:sp>
        <p:nvSpPr>
          <p:cNvPr id="6" name="Espace réservé du numéro de diapositive 5">
            <a:extLst>
              <a:ext uri="{FF2B5EF4-FFF2-40B4-BE49-F238E27FC236}">
                <a16:creationId xmlns:a16="http://schemas.microsoft.com/office/drawing/2014/main" id="{96303EBA-59D2-43DA-8E0E-E6763D7E2355}"/>
              </a:ext>
            </a:extLst>
          </p:cNvPr>
          <p:cNvSpPr>
            <a:spLocks noGrp="1"/>
          </p:cNvSpPr>
          <p:nvPr>
            <p:ph type="sldNum" sz="quarter" idx="12"/>
          </p:nvPr>
        </p:nvSpPr>
        <p:spPr>
          <a:xfrm>
            <a:off x="6457950" y="6356350"/>
            <a:ext cx="2057400" cy="365125"/>
          </a:xfrm>
          <a:prstGeom prst="rect">
            <a:avLst/>
          </a:prstGeom>
        </p:spPr>
        <p:txBody>
          <a:bodyPr/>
          <a:lstStyle/>
          <a:p>
            <a:fld id="{CD9A8713-4DF6-472A-9520-85B5D0371C31}" type="slidenum">
              <a:rPr lang="fr-FR" smtClean="0"/>
              <a:t>‹N°›</a:t>
            </a:fld>
            <a:endParaRPr lang="fr-FR"/>
          </a:p>
        </p:txBody>
      </p:sp>
    </p:spTree>
    <p:extLst>
      <p:ext uri="{BB962C8B-B14F-4D97-AF65-F5344CB8AC3E}">
        <p14:creationId xmlns:p14="http://schemas.microsoft.com/office/powerpoint/2010/main" val="21255444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5" name="Imag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grpSp>
        <p:nvGrpSpPr>
          <p:cNvPr id="56" name="Groupe 55"/>
          <p:cNvGrpSpPr/>
          <p:nvPr/>
        </p:nvGrpSpPr>
        <p:grpSpPr>
          <a:xfrm>
            <a:off x="9363035" y="28361"/>
            <a:ext cx="4214248" cy="1943442"/>
            <a:chOff x="9363034" y="28361"/>
            <a:chExt cx="4214248" cy="1943442"/>
          </a:xfrm>
        </p:grpSpPr>
        <p:sp>
          <p:nvSpPr>
            <p:cNvPr id="57"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8"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9"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0"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1"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2"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3"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4"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5"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6"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7"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8"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9"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0"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1"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2"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3"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4"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5"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6"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7"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8"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9"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0"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1"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2"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3"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1"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2"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3"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4"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5"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6"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7"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8"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5360986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5"/>
            <a:ext cx="1983050" cy="900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9589920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7"/>
            <a:ext cx="1983050" cy="899999"/>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8574745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6818" y="1187337"/>
            <a:ext cx="1983050" cy="899999"/>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416202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14749666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5468" y="6239979"/>
            <a:ext cx="827998" cy="37578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643331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5468" y="6239979"/>
            <a:ext cx="827998" cy="375784"/>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0902242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4" name="Imag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674562" y="6067424"/>
            <a:ext cx="1176088" cy="483789"/>
          </a:xfrm>
          <a:prstGeom prst="rect">
            <a:avLst/>
          </a:prstGeom>
        </p:spPr>
      </p:pic>
      <p:pic>
        <p:nvPicPr>
          <p:cNvPr id="12" name="Imag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53" name="Image 52">
            <a:extLst>
              <a:ext uri="{FF2B5EF4-FFF2-40B4-BE49-F238E27FC236}">
                <a16:creationId xmlns:a16="http://schemas.microsoft.com/office/drawing/2014/main" id="{C43FF63E-3DC7-4135-AC43-6EF68FE26B5D}"/>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5842706" y="498458"/>
            <a:ext cx="1831856" cy="740801"/>
          </a:xfrm>
          <a:prstGeom prst="rect">
            <a:avLst/>
          </a:prstGeom>
        </p:spPr>
      </p:pic>
      <p:pic>
        <p:nvPicPr>
          <p:cNvPr id="54" name="Image 53">
            <a:extLst>
              <a:ext uri="{FF2B5EF4-FFF2-40B4-BE49-F238E27FC236}">
                <a16:creationId xmlns:a16="http://schemas.microsoft.com/office/drawing/2014/main" id="{7D8AD1AB-B86C-4731-BB2B-4BE3AB30CBE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791450" y="606393"/>
            <a:ext cx="1059200" cy="524933"/>
          </a:xfrm>
          <a:prstGeom prst="rect">
            <a:avLst/>
          </a:prstGeom>
        </p:spPr>
      </p:pic>
    </p:spTree>
    <p:extLst>
      <p:ext uri="{BB962C8B-B14F-4D97-AF65-F5344CB8AC3E}">
        <p14:creationId xmlns:p14="http://schemas.microsoft.com/office/powerpoint/2010/main" val="33016098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9363035" y="28361"/>
            <a:ext cx="4214248"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29320530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9363035" y="28361"/>
            <a:ext cx="4214248"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8208331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12093474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2231599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73197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5" name="Espace réservé du texte 6"/>
          <p:cNvSpPr>
            <a:spLocks noGrp="1" noChangeAspect="1"/>
          </p:cNvSpPr>
          <p:nvPr>
            <p:ph type="body" sz="quarter" idx="21" hasCustomPrompt="1"/>
          </p:nvPr>
        </p:nvSpPr>
        <p:spPr bwMode="gray">
          <a:xfrm>
            <a:off x="6616800" y="6238800"/>
            <a:ext cx="828000" cy="3744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1048610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057366"/>
            <a:ext cx="2016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a:xfrm>
            <a:off x="862088" y="6192682"/>
            <a:ext cx="3420000" cy="440684"/>
          </a:xfrm>
        </p:spPr>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1426551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9553553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4547416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48751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31846723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EcoTitanium / UKAD : les avantages de la filière Titane</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4257655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7687106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41461116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8056776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4" name="Imag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95339" y="5981782"/>
            <a:ext cx="1427796" cy="648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1223238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4"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5339" y="5981782"/>
            <a:ext cx="1427796" cy="6480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4913777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5339" y="5981784"/>
            <a:ext cx="1427796" cy="647999"/>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660353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5" name="Imag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047753" y="5968402"/>
            <a:ext cx="1575283" cy="648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5339" y="5981784"/>
            <a:ext cx="1427796" cy="647999"/>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5343429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3" name="Imag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5" y="2559571"/>
            <a:ext cx="1983052" cy="900000"/>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7985395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5" y="2559571"/>
            <a:ext cx="1983052" cy="900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6156184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spTree>
    <p:extLst>
      <p:ext uri="{BB962C8B-B14F-4D97-AF65-F5344CB8AC3E}">
        <p14:creationId xmlns:p14="http://schemas.microsoft.com/office/powerpoint/2010/main" val="22999457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6" y="2559571"/>
            <a:ext cx="1983050" cy="900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2702238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1_Fin 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0476" y="2559571"/>
            <a:ext cx="1983050" cy="900000"/>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6210211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iapositive de titre A">
    <p:bg>
      <p:bgPr>
        <a:solidFill>
          <a:srgbClr val="182C53"/>
        </a:solidFill>
        <a:effectLst/>
      </p:bgPr>
    </p:bg>
    <p:spTree>
      <p:nvGrpSpPr>
        <p:cNvPr id="1" name=""/>
        <p:cNvGrpSpPr/>
        <p:nvPr/>
      </p:nvGrpSpPr>
      <p:grpSpPr>
        <a:xfrm>
          <a:off x="0" y="0"/>
          <a:ext cx="0" cy="0"/>
          <a:chOff x="0" y="0"/>
          <a:chExt cx="0" cy="0"/>
        </a:xfrm>
      </p:grpSpPr>
      <p:pic>
        <p:nvPicPr>
          <p:cNvPr id="15" name="Imag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37362" y="1251808"/>
            <a:ext cx="1980000" cy="731871"/>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704282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iapositive de titre B">
    <p:bg>
      <p:bgPr>
        <a:solidFill>
          <a:schemeClr val="tx2"/>
        </a:solidFill>
        <a:effectLst/>
      </p:bgPr>
    </p:bg>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bg1"/>
                </a:solidFill>
              </a:defRPr>
            </a:lvl1pPr>
            <a:lvl2pPr marL="0" indent="0" algn="l">
              <a:spcBef>
                <a:spcPts val="0"/>
              </a:spcBef>
              <a:buNone/>
              <a:defRPr sz="1700" b="0">
                <a:solidFill>
                  <a:schemeClr val="bg1"/>
                </a:solidFill>
              </a:defRPr>
            </a:lvl2pPr>
            <a:lvl3pPr marL="0" indent="0" algn="l">
              <a:spcBef>
                <a:spcPts val="1200"/>
              </a:spcBef>
              <a:buNone/>
              <a:defRPr sz="1100" b="0" cap="all" baseline="0">
                <a:solidFill>
                  <a:schemeClr val="bg1"/>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solidFill>
                  <a:schemeClr val="bg1"/>
                </a:solidFill>
              </a:defRPr>
            </a:lvl1pPr>
          </a:lstStyle>
          <a:p>
            <a:r>
              <a:rPr lang="fr-FR"/>
              <a:t>Modifiez le style du titre</a:t>
            </a:r>
            <a:endParaRPr lang="fr-FR" dirty="0"/>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4" name="Imag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6061" y="5543811"/>
            <a:ext cx="1925342" cy="79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37362" y="1251808"/>
            <a:ext cx="1980000" cy="731871"/>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0068400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Diapositive de titre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62069181-D8AE-4CBD-A6F6-430CFA93BA0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65305" y="1365235"/>
            <a:ext cx="1800000" cy="207468"/>
          </a:xfrm>
          <a:prstGeom prst="rect">
            <a:avLst/>
          </a:prstGeom>
        </p:spPr>
      </p:pic>
      <p:pic>
        <p:nvPicPr>
          <p:cNvPr id="55" name="Image 54">
            <a:extLst>
              <a:ext uri="{FF2B5EF4-FFF2-40B4-BE49-F238E27FC236}">
                <a16:creationId xmlns:a16="http://schemas.microsoft.com/office/drawing/2014/main" id="{F3724178-D490-440A-9DEF-9FE45DA0DA7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69552" y="1065594"/>
            <a:ext cx="1980000" cy="731871"/>
          </a:xfrm>
          <a:prstGeom prst="rect">
            <a:avLst/>
          </a:prstGeom>
        </p:spPr>
      </p:pic>
    </p:spTree>
    <p:extLst>
      <p:ext uri="{BB962C8B-B14F-4D97-AF65-F5344CB8AC3E}">
        <p14:creationId xmlns:p14="http://schemas.microsoft.com/office/powerpoint/2010/main" val="23299267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1_Diapositive de titre D">
    <p:spTree>
      <p:nvGrpSpPr>
        <p:cNvPr id="1" name=""/>
        <p:cNvGrpSpPr/>
        <p:nvPr/>
      </p:nvGrpSpPr>
      <p:grpSpPr>
        <a:xfrm>
          <a:off x="0" y="0"/>
          <a:ext cx="0" cy="0"/>
          <a:chOff x="0" y="0"/>
          <a:chExt cx="0" cy="0"/>
        </a:xfrm>
      </p:grpSpPr>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6000" y="5544000"/>
            <a:ext cx="1925346" cy="792000"/>
          </a:xfrm>
          <a:prstGeom prst="rect">
            <a:avLst/>
          </a:prstGeom>
        </p:spPr>
      </p:pic>
      <p:sp>
        <p:nvSpPr>
          <p:cNvPr id="3" name="Sous-titre 2"/>
          <p:cNvSpPr>
            <a:spLocks noGrp="1"/>
          </p:cNvSpPr>
          <p:nvPr>
            <p:ph type="subTitle" idx="1" hasCustomPrompt="1"/>
          </p:nvPr>
        </p:nvSpPr>
        <p:spPr bwMode="gray">
          <a:xfrm>
            <a:off x="539999" y="4402124"/>
            <a:ext cx="5400000" cy="1024348"/>
          </a:xfrm>
        </p:spPr>
        <p:txBody>
          <a:bodyPr/>
          <a:lstStyle>
            <a:lvl1pPr marL="0" indent="0" algn="l">
              <a:spcAft>
                <a:spcPts val="0"/>
              </a:spcAft>
              <a:buNone/>
              <a:defRPr sz="1700">
                <a:solidFill>
                  <a:schemeClr val="tx2"/>
                </a:solidFill>
              </a:defRPr>
            </a:lvl1pPr>
            <a:lvl2pPr marL="0" indent="0" algn="l">
              <a:spcBef>
                <a:spcPts val="0"/>
              </a:spcBef>
              <a:buNone/>
              <a:defRPr sz="1700" b="0">
                <a:solidFill>
                  <a:schemeClr val="tx2"/>
                </a:solidFill>
              </a:defRPr>
            </a:lvl2pPr>
            <a:lvl3pPr marL="0" indent="0" algn="l">
              <a:spcBef>
                <a:spcPts val="1200"/>
              </a:spcBef>
              <a:buNone/>
              <a:defRPr sz="1100" b="0" cap="all" baseline="0">
                <a:solidFill>
                  <a:schemeClr val="tx2"/>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date</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p:nvPr>
        </p:nvSpPr>
        <p:spPr bwMode="gray">
          <a:xfrm>
            <a:off x="539999" y="2657915"/>
            <a:ext cx="5400000" cy="1512168"/>
          </a:xfrm>
        </p:spPr>
        <p:txBody>
          <a:bodyPr/>
          <a:lstStyle>
            <a:lvl1pPr>
              <a:lnSpc>
                <a:spcPct val="90000"/>
              </a:lnSpc>
              <a:defRPr sz="3000"/>
            </a:lvl1pPr>
          </a:lstStyle>
          <a:p>
            <a:r>
              <a:rPr lang="fr-FR"/>
              <a:t>Modifiez le style du titre</a:t>
            </a:r>
            <a:endParaRPr lang="fr-FR" dirty="0"/>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90398E00-5AEB-4025-8C01-F854C1086A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65305" y="1365235"/>
            <a:ext cx="1800000" cy="207468"/>
          </a:xfrm>
          <a:prstGeom prst="rect">
            <a:avLst/>
          </a:prstGeom>
        </p:spPr>
      </p:pic>
    </p:spTree>
    <p:extLst>
      <p:ext uri="{BB962C8B-B14F-4D97-AF65-F5344CB8AC3E}">
        <p14:creationId xmlns:p14="http://schemas.microsoft.com/office/powerpoint/2010/main" val="28143473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936000" y="126013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Titre 7"/>
          <p:cNvSpPr>
            <a:spLocks noGrp="1"/>
          </p:cNvSpPr>
          <p:nvPr>
            <p:ph type="title"/>
          </p:nvPr>
        </p:nvSpPr>
        <p:spPr bwMode="gray"/>
        <p:txBody>
          <a:bodyPr/>
          <a:lstStyle/>
          <a:p>
            <a:r>
              <a:rPr lang="fr-FR"/>
              <a:t>Modifiez le style du titre</a:t>
            </a:r>
          </a:p>
        </p:txBody>
      </p:sp>
      <p:cxnSp>
        <p:nvCxnSpPr>
          <p:cNvPr id="29" name="Connecteur droit 28"/>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Espace réservé du texte 4"/>
          <p:cNvSpPr>
            <a:spLocks noGrp="1"/>
          </p:cNvSpPr>
          <p:nvPr>
            <p:ph type="body" sz="quarter" idx="18" hasCustomPrompt="1"/>
          </p:nvPr>
        </p:nvSpPr>
        <p:spPr bwMode="gray">
          <a:xfrm>
            <a:off x="441267"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3" name="Espace réservé du texte 4"/>
          <p:cNvSpPr>
            <a:spLocks noGrp="1"/>
          </p:cNvSpPr>
          <p:nvPr>
            <p:ph type="body" sz="quarter" idx="17" hasCustomPrompt="1"/>
          </p:nvPr>
        </p:nvSpPr>
        <p:spPr bwMode="gray">
          <a:xfrm>
            <a:off x="936000"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6" name="Espace réservé du texte 4"/>
          <p:cNvSpPr>
            <a:spLocks noGrp="1"/>
          </p:cNvSpPr>
          <p:nvPr>
            <p:ph type="body" sz="quarter" idx="19" hasCustomPrompt="1"/>
          </p:nvPr>
        </p:nvSpPr>
        <p:spPr bwMode="gray">
          <a:xfrm>
            <a:off x="441267"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27" name="Espace réservé du texte 4"/>
          <p:cNvSpPr>
            <a:spLocks noGrp="1"/>
          </p:cNvSpPr>
          <p:nvPr>
            <p:ph type="body" sz="quarter" idx="20" hasCustomPrompt="1"/>
          </p:nvPr>
        </p:nvSpPr>
        <p:spPr bwMode="gray">
          <a:xfrm>
            <a:off x="936000"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28" name="Espace réservé du texte 4"/>
          <p:cNvSpPr>
            <a:spLocks noGrp="1"/>
          </p:cNvSpPr>
          <p:nvPr>
            <p:ph type="body" sz="quarter" idx="21" hasCustomPrompt="1"/>
          </p:nvPr>
        </p:nvSpPr>
        <p:spPr bwMode="gray">
          <a:xfrm>
            <a:off x="441267"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0" name="Espace réservé du texte 4"/>
          <p:cNvSpPr>
            <a:spLocks noGrp="1"/>
          </p:cNvSpPr>
          <p:nvPr>
            <p:ph type="body" sz="quarter" idx="22" hasCustomPrompt="1"/>
          </p:nvPr>
        </p:nvSpPr>
        <p:spPr bwMode="gray">
          <a:xfrm>
            <a:off x="936000"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31" name="Espace réservé du texte 4"/>
          <p:cNvSpPr>
            <a:spLocks noGrp="1"/>
          </p:cNvSpPr>
          <p:nvPr>
            <p:ph type="body" sz="quarter" idx="23" hasCustomPrompt="1"/>
          </p:nvPr>
        </p:nvSpPr>
        <p:spPr bwMode="gray">
          <a:xfrm>
            <a:off x="441267"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39" name="Espace réservé du texte 4"/>
          <p:cNvSpPr>
            <a:spLocks noGrp="1"/>
          </p:cNvSpPr>
          <p:nvPr>
            <p:ph type="body" sz="quarter" idx="24" hasCustomPrompt="1"/>
          </p:nvPr>
        </p:nvSpPr>
        <p:spPr bwMode="gray">
          <a:xfrm>
            <a:off x="936000"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49" name="Espace réservé du texte 4"/>
          <p:cNvSpPr>
            <a:spLocks noGrp="1"/>
          </p:cNvSpPr>
          <p:nvPr>
            <p:ph type="body" sz="quarter" idx="25" hasCustomPrompt="1"/>
          </p:nvPr>
        </p:nvSpPr>
        <p:spPr bwMode="gray">
          <a:xfrm>
            <a:off x="441267"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0" name="Espace réservé du texte 4"/>
          <p:cNvSpPr>
            <a:spLocks noGrp="1"/>
          </p:cNvSpPr>
          <p:nvPr>
            <p:ph type="body" sz="quarter" idx="26" hasCustomPrompt="1"/>
          </p:nvPr>
        </p:nvSpPr>
        <p:spPr bwMode="gray">
          <a:xfrm>
            <a:off x="936000"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1" name="Espace réservé du texte 4"/>
          <p:cNvSpPr>
            <a:spLocks noGrp="1"/>
          </p:cNvSpPr>
          <p:nvPr>
            <p:ph type="body" sz="quarter" idx="27" hasCustomPrompt="1"/>
          </p:nvPr>
        </p:nvSpPr>
        <p:spPr bwMode="gray">
          <a:xfrm>
            <a:off x="4581723" y="167563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2" name="Espace réservé du texte 4"/>
          <p:cNvSpPr>
            <a:spLocks noGrp="1"/>
          </p:cNvSpPr>
          <p:nvPr>
            <p:ph type="body" sz="quarter" idx="28" hasCustomPrompt="1"/>
          </p:nvPr>
        </p:nvSpPr>
        <p:spPr bwMode="gray">
          <a:xfrm>
            <a:off x="5076456" y="167563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3" name="Espace réservé du texte 4"/>
          <p:cNvSpPr>
            <a:spLocks noGrp="1"/>
          </p:cNvSpPr>
          <p:nvPr>
            <p:ph type="body" sz="quarter" idx="29" hasCustomPrompt="1"/>
          </p:nvPr>
        </p:nvSpPr>
        <p:spPr bwMode="gray">
          <a:xfrm>
            <a:off x="4581723" y="2425088"/>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4" name="Espace réservé du texte 4"/>
          <p:cNvSpPr>
            <a:spLocks noGrp="1"/>
          </p:cNvSpPr>
          <p:nvPr>
            <p:ph type="body" sz="quarter" idx="30" hasCustomPrompt="1"/>
          </p:nvPr>
        </p:nvSpPr>
        <p:spPr bwMode="gray">
          <a:xfrm>
            <a:off x="5076456" y="2425088"/>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5" name="Espace réservé du texte 4"/>
          <p:cNvSpPr>
            <a:spLocks noGrp="1"/>
          </p:cNvSpPr>
          <p:nvPr>
            <p:ph type="body" sz="quarter" idx="31" hasCustomPrompt="1"/>
          </p:nvPr>
        </p:nvSpPr>
        <p:spPr bwMode="gray">
          <a:xfrm>
            <a:off x="4581723" y="3174546"/>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6" name="Espace réservé du texte 4"/>
          <p:cNvSpPr>
            <a:spLocks noGrp="1"/>
          </p:cNvSpPr>
          <p:nvPr>
            <p:ph type="body" sz="quarter" idx="32" hasCustomPrompt="1"/>
          </p:nvPr>
        </p:nvSpPr>
        <p:spPr bwMode="gray">
          <a:xfrm>
            <a:off x="5076456" y="3174546"/>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7" name="Espace réservé du texte 4"/>
          <p:cNvSpPr>
            <a:spLocks noGrp="1"/>
          </p:cNvSpPr>
          <p:nvPr>
            <p:ph type="body" sz="quarter" idx="33" hasCustomPrompt="1"/>
          </p:nvPr>
        </p:nvSpPr>
        <p:spPr bwMode="gray">
          <a:xfrm>
            <a:off x="4581723" y="3924003"/>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58" name="Espace réservé du texte 4"/>
          <p:cNvSpPr>
            <a:spLocks noGrp="1"/>
          </p:cNvSpPr>
          <p:nvPr>
            <p:ph type="body" sz="quarter" idx="34" hasCustomPrompt="1"/>
          </p:nvPr>
        </p:nvSpPr>
        <p:spPr bwMode="gray">
          <a:xfrm>
            <a:off x="5076456" y="3924003"/>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59" name="Espace réservé du texte 4"/>
          <p:cNvSpPr>
            <a:spLocks noGrp="1"/>
          </p:cNvSpPr>
          <p:nvPr>
            <p:ph type="body" sz="quarter" idx="35" hasCustomPrompt="1"/>
          </p:nvPr>
        </p:nvSpPr>
        <p:spPr bwMode="gray">
          <a:xfrm>
            <a:off x="4581723" y="4673460"/>
            <a:ext cx="476282" cy="648000"/>
          </a:xfrm>
        </p:spPr>
        <p:txBody>
          <a:bodyPr/>
          <a:lstStyle>
            <a:lvl1pPr algn="r">
              <a:lnSpc>
                <a:spcPct val="95000"/>
              </a:lnSpc>
              <a:spcAft>
                <a:spcPts val="0"/>
              </a:spcAft>
              <a:defRPr sz="1400" b="1" baseline="0">
                <a:solidFill>
                  <a:schemeClr val="tx2"/>
                </a:solidFill>
              </a:defRPr>
            </a:lvl1pPr>
          </a:lstStyle>
          <a:p>
            <a:pPr lvl="0"/>
            <a:r>
              <a:rPr lang="fr-FR" noProof="0" dirty="0"/>
              <a:t>OO -</a:t>
            </a:r>
          </a:p>
        </p:txBody>
      </p:sp>
      <p:sp>
        <p:nvSpPr>
          <p:cNvPr id="60" name="Espace réservé du texte 4"/>
          <p:cNvSpPr>
            <a:spLocks noGrp="1"/>
          </p:cNvSpPr>
          <p:nvPr>
            <p:ph type="body" sz="quarter" idx="36" hasCustomPrompt="1"/>
          </p:nvPr>
        </p:nvSpPr>
        <p:spPr bwMode="gray">
          <a:xfrm>
            <a:off x="5076456" y="4673460"/>
            <a:ext cx="3600000" cy="648000"/>
          </a:xfrm>
        </p:spPr>
        <p:txBody>
          <a:bodyPr/>
          <a:lstStyle>
            <a:lvl1pPr>
              <a:lnSpc>
                <a:spcPct val="95000"/>
              </a:lnSpc>
              <a:spcAft>
                <a:spcPts val="0"/>
              </a:spcAft>
              <a:defRPr sz="1400">
                <a:solidFill>
                  <a:schemeClr val="tx2"/>
                </a:solidFill>
              </a:defRPr>
            </a:lvl1pPr>
            <a:lvl2pPr marL="0" indent="0">
              <a:lnSpc>
                <a:spcPct val="95000"/>
              </a:lnSpc>
              <a:spcBef>
                <a:spcPts val="0"/>
              </a:spcBef>
              <a:buNone/>
              <a:defRPr sz="1200" b="0">
                <a:solidFill>
                  <a:schemeClr val="tx2"/>
                </a:solidFill>
              </a:defRPr>
            </a:lvl2pPr>
          </a:lstStyle>
          <a:p>
            <a:pPr lvl="0"/>
            <a:r>
              <a:rPr lang="fr-FR" noProof="0" dirty="0"/>
              <a:t>Titre</a:t>
            </a:r>
          </a:p>
          <a:p>
            <a:pPr lvl="1"/>
            <a:r>
              <a:rPr lang="fr-FR" noProof="0" dirty="0"/>
              <a:t>Texte</a:t>
            </a:r>
          </a:p>
        </p:txBody>
      </p:sp>
      <p:sp>
        <p:nvSpPr>
          <p:cNvPr id="61" name="Espace réservé du texte 4"/>
          <p:cNvSpPr>
            <a:spLocks noGrp="1"/>
          </p:cNvSpPr>
          <p:nvPr>
            <p:ph type="body" sz="quarter" idx="37" hasCustomPrompt="1"/>
          </p:nvPr>
        </p:nvSpPr>
        <p:spPr bwMode="gray">
          <a:xfrm>
            <a:off x="5076456" y="5445226"/>
            <a:ext cx="3600000" cy="360127"/>
          </a:xfrm>
        </p:spPr>
        <p:txBody>
          <a:bodyPr/>
          <a:lstStyle>
            <a:lvl1pPr>
              <a:lnSpc>
                <a:spcPct val="95000"/>
              </a:lnSpc>
              <a:spcAft>
                <a:spcPts val="0"/>
              </a:spcAft>
              <a:defRPr sz="1400">
                <a:solidFill>
                  <a:schemeClr val="tx2"/>
                </a:solidFill>
              </a:defRPr>
            </a:lvl1pPr>
          </a:lstStyle>
          <a:p>
            <a:pPr lvl="0"/>
            <a:r>
              <a:rPr lang="fr-FR" noProof="0" dirty="0"/>
              <a:t>Titre</a:t>
            </a:r>
          </a:p>
        </p:txBody>
      </p:sp>
    </p:spTree>
    <p:extLst>
      <p:ext uri="{BB962C8B-B14F-4D97-AF65-F5344CB8AC3E}">
        <p14:creationId xmlns:p14="http://schemas.microsoft.com/office/powerpoint/2010/main" val="42614201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hapitre A">
    <p:bg>
      <p:bgPr>
        <a:solidFill>
          <a:srgbClr val="182C53"/>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46748" y="6317297"/>
            <a:ext cx="1218920" cy="450551"/>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5808690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46748" y="6317297"/>
            <a:ext cx="1218920" cy="450551"/>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7611885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2" name="Groupe 11"/>
          <p:cNvGrpSpPr/>
          <p:nvPr/>
        </p:nvGrpSpPr>
        <p:grpSpPr>
          <a:xfrm>
            <a:off x="9363035" y="28361"/>
            <a:ext cx="4214248" cy="1943442"/>
            <a:chOff x="9363034" y="28361"/>
            <a:chExt cx="4214248" cy="1943442"/>
          </a:xfrm>
        </p:grpSpPr>
        <p:sp>
          <p:nvSpPr>
            <p:cNvPr id="1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2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3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5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204354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hapitre B">
    <p:bg>
      <p:bgPr>
        <a:solidFill>
          <a:schemeClr val="tx2"/>
        </a:solidFill>
        <a:effectLst/>
      </p:bgPr>
    </p:bg>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Cliquez pour modifier les styles du texte du masque</a:t>
            </a:r>
          </a:p>
          <a:p>
            <a:pPr lvl="1"/>
            <a:r>
              <a:rPr lang="fr-FR"/>
              <a:t>Deuxième niveau</a:t>
            </a:r>
          </a:p>
        </p:txBody>
      </p:sp>
      <p:pic>
        <p:nvPicPr>
          <p:cNvPr id="12" name="Imag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895511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Chapitre D">
    <p:spTree>
      <p:nvGrpSpPr>
        <p:cNvPr id="1" name=""/>
        <p:cNvGrpSpPr/>
        <p:nvPr/>
      </p:nvGrpSpPr>
      <p:grpSpPr>
        <a:xfrm>
          <a:off x="0" y="0"/>
          <a:ext cx="0" cy="0"/>
          <a:chOff x="0" y="0"/>
          <a:chExt cx="0" cy="0"/>
        </a:xfrm>
      </p:grpSpPr>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8"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Modifier les styles du texte du masque</a:t>
            </a:r>
          </a:p>
          <a:p>
            <a:pPr lvl="1"/>
            <a:r>
              <a:rPr lang="fr-FR"/>
              <a:t>Deuxième niveau</a:t>
            </a:r>
          </a:p>
        </p:txBody>
      </p:sp>
      <p:grpSp>
        <p:nvGrpSpPr>
          <p:cNvPr id="10" name="Groupe 9"/>
          <p:cNvGrpSpPr/>
          <p:nvPr/>
        </p:nvGrpSpPr>
        <p:grpSpPr>
          <a:xfrm>
            <a:off x="9363035" y="28361"/>
            <a:ext cx="4214248" cy="1943442"/>
            <a:chOff x="9363034" y="28361"/>
            <a:chExt cx="4214248" cy="1943442"/>
          </a:xfrm>
        </p:grpSpPr>
        <p:sp>
          <p:nvSpPr>
            <p:cNvPr id="12"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13"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14"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15"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16"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17"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18"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19"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20"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21"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22"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23"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24"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25"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26"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27"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28"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29"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30"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31"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32"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33"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34"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35"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36"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37"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38"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39"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40"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41"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42"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43"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44"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45"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46"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47"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48"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49"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50"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51"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grpSp>
    </p:spTree>
    <p:extLst>
      <p:ext uri="{BB962C8B-B14F-4D97-AF65-F5344CB8AC3E}">
        <p14:creationId xmlns:p14="http://schemas.microsoft.com/office/powerpoint/2010/main" val="182478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Chapitre visuel A">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1">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2"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39897287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hapitre visuel B">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2">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41735553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hapitre visuel C">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3">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7092819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hapitre visuel D">
    <p:spTree>
      <p:nvGrpSpPr>
        <p:cNvPr id="1" name=""/>
        <p:cNvGrpSpPr/>
        <p:nvPr/>
      </p:nvGrpSpPr>
      <p:grpSpPr>
        <a:xfrm>
          <a:off x="0" y="0"/>
          <a:ext cx="0" cy="0"/>
          <a:chOff x="0" y="0"/>
          <a:chExt cx="0" cy="0"/>
        </a:xfrm>
      </p:grpSpPr>
      <p:sp>
        <p:nvSpPr>
          <p:cNvPr id="13" name="Espace réservé du texte 12"/>
          <p:cNvSpPr>
            <a:spLocks noGrp="1"/>
          </p:cNvSpPr>
          <p:nvPr>
            <p:ph type="body" sz="quarter" idx="19" hasCustomPrompt="1"/>
          </p:nvPr>
        </p:nvSpPr>
        <p:spPr bwMode="gray">
          <a:xfrm>
            <a:off x="0" y="3125272"/>
            <a:ext cx="9144000" cy="3732728"/>
          </a:xfrm>
          <a:custGeom>
            <a:avLst/>
            <a:gdLst>
              <a:gd name="connsiteX0" fmla="*/ 9135185 w 9144000"/>
              <a:gd name="connsiteY0" fmla="*/ 0 h 3732728"/>
              <a:gd name="connsiteX1" fmla="*/ 9144000 w 9144000"/>
              <a:gd name="connsiteY1" fmla="*/ 0 h 3732728"/>
              <a:gd name="connsiteX2" fmla="*/ 9144000 w 9144000"/>
              <a:gd name="connsiteY2" fmla="*/ 43810 h 3732728"/>
              <a:gd name="connsiteX3" fmla="*/ 9144000 w 9144000"/>
              <a:gd name="connsiteY3" fmla="*/ 756192 h 3732728"/>
              <a:gd name="connsiteX4" fmla="*/ 9144000 w 9144000"/>
              <a:gd name="connsiteY4" fmla="*/ 803939 h 3732728"/>
              <a:gd name="connsiteX5" fmla="*/ 3897084 w 9144000"/>
              <a:gd name="connsiteY5" fmla="*/ 3732728 h 3732728"/>
              <a:gd name="connsiteX6" fmla="*/ 3826591 w 9144000"/>
              <a:gd name="connsiteY6" fmla="*/ 3732728 h 3732728"/>
              <a:gd name="connsiteX7" fmla="*/ 0 w 9144000"/>
              <a:gd name="connsiteY7" fmla="*/ 3732728 h 3732728"/>
              <a:gd name="connsiteX8" fmla="*/ 0 w 9144000"/>
              <a:gd name="connsiteY8" fmla="*/ 3505453 h 3732728"/>
              <a:gd name="connsiteX9" fmla="*/ 0 w 9144000"/>
              <a:gd name="connsiteY9" fmla="*/ 3458661 h 3732728"/>
              <a:gd name="connsiteX10" fmla="*/ 3770388 w 9144000"/>
              <a:gd name="connsiteY10" fmla="*/ 2026257 h 3732728"/>
              <a:gd name="connsiteX11" fmla="*/ 5354561 w 9144000"/>
              <a:gd name="connsiteY11" fmla="*/ 1171590 h 3732728"/>
              <a:gd name="connsiteX12" fmla="*/ 8665280 w 9144000"/>
              <a:gd name="connsiteY12" fmla="*/ 57149 h 373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0" h="3732728">
                <a:moveTo>
                  <a:pt x="9135185" y="0"/>
                </a:moveTo>
                <a:lnTo>
                  <a:pt x="9144000" y="0"/>
                </a:lnTo>
                <a:lnTo>
                  <a:pt x="9144000" y="43810"/>
                </a:lnTo>
                <a:lnTo>
                  <a:pt x="9144000" y="756192"/>
                </a:lnTo>
                <a:lnTo>
                  <a:pt x="9144000" y="803939"/>
                </a:lnTo>
                <a:cubicBezTo>
                  <a:pt x="6831089" y="1447566"/>
                  <a:pt x="4991620" y="2820764"/>
                  <a:pt x="3897084" y="3732728"/>
                </a:cubicBezTo>
                <a:lnTo>
                  <a:pt x="3826591" y="3732728"/>
                </a:lnTo>
                <a:lnTo>
                  <a:pt x="0" y="3732728"/>
                </a:lnTo>
                <a:lnTo>
                  <a:pt x="0" y="3505453"/>
                </a:lnTo>
                <a:lnTo>
                  <a:pt x="0" y="3458661"/>
                </a:lnTo>
                <a:cubicBezTo>
                  <a:pt x="1086916" y="3490174"/>
                  <a:pt x="1899483" y="3047084"/>
                  <a:pt x="3770388" y="2026257"/>
                </a:cubicBezTo>
                <a:cubicBezTo>
                  <a:pt x="4230493" y="1776064"/>
                  <a:pt x="4750613" y="1492448"/>
                  <a:pt x="5354561" y="1171590"/>
                </a:cubicBezTo>
                <a:cubicBezTo>
                  <a:pt x="6439809" y="595883"/>
                  <a:pt x="7549126" y="222697"/>
                  <a:pt x="8665280" y="57149"/>
                </a:cubicBezTo>
                <a:close/>
              </a:path>
            </a:pathLst>
          </a:custGeom>
          <a:solidFill>
            <a:schemeClr val="accent4">
              <a:alpha val="40000"/>
            </a:schemeClr>
          </a:solidFill>
          <a:ln>
            <a:noFill/>
          </a:ln>
        </p:spPr>
        <p:txBody>
          <a:bodyPr wrap="square" anchor="ctr" anchorCtr="0">
            <a:noAutofit/>
          </a:bodyPr>
          <a:lstStyle>
            <a:lvl1pPr algn="ctr">
              <a:defRPr baseline="0">
                <a:solidFill>
                  <a:schemeClr val="bg1">
                    <a:alpha val="0"/>
                  </a:schemeClr>
                </a:solidFill>
              </a:defRPr>
            </a:lvl1pPr>
          </a:lstStyle>
          <a:p>
            <a:pPr lvl="0"/>
            <a:r>
              <a:rPr lang="fr-FR" dirty="0"/>
              <a:t> </a:t>
            </a:r>
          </a:p>
        </p:txBody>
      </p:sp>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bg1"/>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602"/>
            <a:ext cx="5220000" cy="3095625"/>
          </a:xfrm>
        </p:spPr>
        <p:txBody>
          <a:bodyPr/>
          <a:lstStyle>
            <a:lvl1pPr>
              <a:lnSpc>
                <a:spcPct val="90000"/>
              </a:lnSpc>
              <a:spcAft>
                <a:spcPts val="1700"/>
              </a:spcAft>
              <a:defRPr sz="2800">
                <a:solidFill>
                  <a:schemeClr val="bg1"/>
                </a:solidFill>
              </a:defRPr>
            </a:lvl1pPr>
            <a:lvl2pPr marL="0" indent="0">
              <a:buNone/>
              <a:defRPr sz="2200" b="0">
                <a:solidFill>
                  <a:schemeClr val="bg1"/>
                </a:solidFill>
              </a:defRPr>
            </a:lvl2pPr>
          </a:lstStyle>
          <a:p>
            <a:pPr lvl="0"/>
            <a:r>
              <a:rPr lang="fr-FR"/>
              <a:t>Modifier les styles du texte du masque</a:t>
            </a:r>
          </a:p>
          <a:p>
            <a:pPr lvl="1"/>
            <a:r>
              <a:rPr lang="fr-FR"/>
              <a:t>Deuxième niveau</a:t>
            </a:r>
          </a:p>
        </p:txBody>
      </p:sp>
      <p:sp>
        <p:nvSpPr>
          <p:cNvPr id="11" name="Espace réservé du texte 6"/>
          <p:cNvSpPr>
            <a:spLocks noGrp="1"/>
          </p:cNvSpPr>
          <p:nvPr>
            <p:ph type="body" sz="quarter" idx="20" hasCustomPrompt="1"/>
          </p:nvPr>
        </p:nvSpPr>
        <p:spPr bwMode="gray">
          <a:xfrm>
            <a:off x="7740000" y="6202800"/>
            <a:ext cx="1008000" cy="432000"/>
          </a:xfrm>
          <a:blipFill>
            <a:blip r:embed="rId2"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10" name="Espace réservé du texte 9"/>
          <p:cNvSpPr>
            <a:spLocks noGrp="1"/>
          </p:cNvSpPr>
          <p:nvPr>
            <p:ph type="body" sz="quarter" idx="18" hasCustomPrompt="1"/>
          </p:nvPr>
        </p:nvSpPr>
        <p:spPr bwMode="gray">
          <a:xfrm>
            <a:off x="-10633" y="-10633"/>
            <a:ext cx="3576638" cy="1735200"/>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wrap="square">
            <a:noAutofit/>
          </a:bodyPr>
          <a:lstStyle>
            <a:lvl1pPr>
              <a:defRPr>
                <a:solidFill>
                  <a:schemeClr val="bg1">
                    <a:alpha val="0"/>
                  </a:schemeClr>
                </a:solidFill>
              </a:defRPr>
            </a:lvl1pPr>
          </a:lstStyle>
          <a:p>
            <a:pPr lvl="0"/>
            <a:r>
              <a:rPr lang="fr-FR" dirty="0"/>
              <a:t> </a:t>
            </a:r>
          </a:p>
        </p:txBody>
      </p:sp>
      <p:sp>
        <p:nvSpPr>
          <p:cNvPr id="16" name="Espace réservé du texte 6"/>
          <p:cNvSpPr>
            <a:spLocks noGrp="1" noChangeAspect="1"/>
          </p:cNvSpPr>
          <p:nvPr>
            <p:ph type="body" sz="quarter" idx="21" hasCustomPrompt="1"/>
          </p:nvPr>
        </p:nvSpPr>
        <p:spPr bwMode="gray">
          <a:xfrm>
            <a:off x="6447600" y="6318000"/>
            <a:ext cx="1220400" cy="450000"/>
          </a:xfrm>
          <a:blipFill>
            <a:blip r:embed="rId4" cstate="screen">
              <a:extLst>
                <a:ext uri="{28A0092B-C50C-407E-A947-70E740481C1C}">
                  <a14:useLocalDpi xmlns:a14="http://schemas.microsoft.com/office/drawing/2010/main"/>
                </a:ext>
              </a:extLst>
            </a:blip>
            <a:stretch>
              <a:fillRect/>
            </a:stretch>
          </a:blipFill>
          <a:ln>
            <a:solidFill>
              <a:schemeClr val="bg1">
                <a:alpha val="0"/>
              </a:schemeClr>
            </a:solidFill>
          </a:ln>
        </p:spPr>
        <p:txBody>
          <a:bodyPr anchor="ctr" anchorCtr="0"/>
          <a:lstStyle>
            <a:lvl1pPr algn="ctr">
              <a:defRPr baseline="0">
                <a:solidFill>
                  <a:schemeClr val="bg1">
                    <a:alpha val="0"/>
                  </a:schemeClr>
                </a:solidFill>
              </a:defRPr>
            </a:lvl1pPr>
          </a:lstStyle>
          <a:p>
            <a:pPr lvl="0"/>
            <a:r>
              <a:rPr lang="fr-FR" dirty="0"/>
              <a:t> </a:t>
            </a:r>
          </a:p>
        </p:txBody>
      </p:sp>
      <p:sp>
        <p:nvSpPr>
          <p:cNvPr id="8" name="Espace réservé pour une image  10"/>
          <p:cNvSpPr>
            <a:spLocks noGrp="1"/>
          </p:cNvSpPr>
          <p:nvPr>
            <p:ph type="pic" sz="quarter" idx="13" hasCustomPrompt="1"/>
          </p:nvPr>
        </p:nvSpPr>
        <p:spPr bwMode="gray">
          <a:xfrm>
            <a:off x="0" y="0"/>
            <a:ext cx="9144000" cy="6858000"/>
          </a:xfrm>
          <a:solidFill>
            <a:schemeClr val="bg1">
              <a:lumMod val="95000"/>
            </a:schemeClr>
          </a:solidFill>
        </p:spPr>
        <p:txBody>
          <a:bodyPr tIns="126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aseline="0">
                <a:solidFill>
                  <a:schemeClr val="tx2"/>
                </a:solidFill>
              </a:defRPr>
            </a:lvl1pPr>
          </a:lstStyle>
          <a:p>
            <a:r>
              <a:rPr lang="fr-FR" noProof="0" dirty="0"/>
              <a:t>Sélectionner l’icône pour insérer une image, </a:t>
            </a:r>
            <a:br>
              <a:rPr lang="fr-FR" noProof="0" dirty="0"/>
            </a:br>
            <a:r>
              <a:rPr lang="fr-FR" noProof="0" dirty="0"/>
              <a:t>puis disposer l’image en arrière plan </a:t>
            </a:r>
            <a:br>
              <a:rPr lang="fr-FR" noProof="0" dirty="0"/>
            </a:br>
            <a:r>
              <a:rPr lang="fr-FR" noProof="0" dirty="0"/>
              <a:t>(Sélectionner l’image avec le bouton droit de la souris / </a:t>
            </a:r>
            <a:br>
              <a:rPr lang="fr-FR" noProof="0" dirty="0"/>
            </a:br>
            <a:r>
              <a:rPr lang="fr-FR" noProof="0" dirty="0"/>
              <a:t>Mettre à l’arrière plan)</a:t>
            </a:r>
          </a:p>
        </p:txBody>
      </p:sp>
    </p:spTree>
    <p:extLst>
      <p:ext uri="{BB962C8B-B14F-4D97-AF65-F5344CB8AC3E}">
        <p14:creationId xmlns:p14="http://schemas.microsoft.com/office/powerpoint/2010/main" val="27146413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p>
        </p:txBody>
      </p:sp>
      <p:cxnSp>
        <p:nvCxnSpPr>
          <p:cNvPr id="8" name="Connecteur droit 7"/>
          <p:cNvCxnSpPr/>
          <p:nvPr/>
        </p:nvCxnSpPr>
        <p:spPr bwMode="gray">
          <a:xfrm>
            <a:off x="540000" y="972102"/>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bwMode="gray">
          <a:xfrm>
            <a:off x="540000" y="1242000"/>
            <a:ext cx="806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0" name="Espace réservé du texte 7"/>
          <p:cNvSpPr>
            <a:spLocks noGrp="1"/>
          </p:cNvSpPr>
          <p:nvPr>
            <p:ph type="body" sz="quarter" idx="13" hasCustomPrompt="1"/>
          </p:nvPr>
        </p:nvSpPr>
        <p:spPr bwMode="gray">
          <a:xfrm>
            <a:off x="4391980" y="6057366"/>
            <a:ext cx="2016000" cy="576000"/>
          </a:xfrm>
        </p:spPr>
        <p:txBody>
          <a:bodyPr anchor="b" anchorCtr="0"/>
          <a:lstStyle>
            <a:lvl1pPr>
              <a:defRPr sz="700" b="0">
                <a:solidFill>
                  <a:schemeClr val="tx2"/>
                </a:solidFill>
              </a:defRPr>
            </a:lvl1pPr>
          </a:lstStyle>
          <a:p>
            <a:pPr lvl="0"/>
            <a:r>
              <a:rPr lang="fr-FR" dirty="0"/>
              <a:t>*Note de bas de page</a:t>
            </a:r>
          </a:p>
        </p:txBody>
      </p:sp>
      <p:sp>
        <p:nvSpPr>
          <p:cNvPr id="3" name="Espace réservé de la date 2"/>
          <p:cNvSpPr>
            <a:spLocks noGrp="1"/>
          </p:cNvSpPr>
          <p:nvPr>
            <p:ph type="dt" sz="half" idx="14"/>
          </p:nvPr>
        </p:nvSpPr>
        <p:spPr/>
        <p:txBody>
          <a:bodyPr/>
          <a:lstStyle/>
          <a:p>
            <a:r>
              <a:rPr lang="fr-FR"/>
              <a:t>Date</a:t>
            </a:r>
            <a:endParaRPr lang="fr-FR" dirty="0"/>
          </a:p>
        </p:txBody>
      </p:sp>
      <p:sp>
        <p:nvSpPr>
          <p:cNvPr id="7" name="Espace réservé du pied de page 6"/>
          <p:cNvSpPr>
            <a:spLocks noGrp="1"/>
          </p:cNvSpPr>
          <p:nvPr>
            <p:ph type="ftr" sz="quarter" idx="15"/>
          </p:nvPr>
        </p:nvSpPr>
        <p:spPr>
          <a:xfrm>
            <a:off x="862088" y="6192682"/>
            <a:ext cx="3420000" cy="440684"/>
          </a:xfrm>
        </p:spPr>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2653594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re et contenu 2 colonnes">
    <p:spTree>
      <p:nvGrpSpPr>
        <p:cNvPr id="1" name=""/>
        <p:cNvGrpSpPr/>
        <p:nvPr/>
      </p:nvGrpSpPr>
      <p:grpSpPr>
        <a:xfrm>
          <a:off x="0" y="0"/>
          <a:ext cx="0" cy="0"/>
          <a:chOff x="0" y="0"/>
          <a:chExt cx="0" cy="0"/>
        </a:xfrm>
      </p:grpSpPr>
      <p:sp>
        <p:nvSpPr>
          <p:cNvPr id="9" name="Espace réservé de la date 8"/>
          <p:cNvSpPr>
            <a:spLocks noGrp="1"/>
          </p:cNvSpPr>
          <p:nvPr>
            <p:ph type="dt" sz="half" idx="14"/>
          </p:nvPr>
        </p:nvSpPr>
        <p:spPr bwMode="gray"/>
        <p:txBody>
          <a:bodyPr/>
          <a:lstStyle/>
          <a:p>
            <a:r>
              <a:rPr lang="fr-FR"/>
              <a:t>Date</a:t>
            </a:r>
            <a:endParaRPr lang="fr-FR" dirty="0"/>
          </a:p>
        </p:txBody>
      </p:sp>
      <p:sp>
        <p:nvSpPr>
          <p:cNvPr id="10" name="Espace réservé du pied de page 9"/>
          <p:cNvSpPr>
            <a:spLocks noGrp="1"/>
          </p:cNvSpPr>
          <p:nvPr>
            <p:ph type="ftr" sz="quarter" idx="15"/>
          </p:nvPr>
        </p:nvSpPr>
        <p:spPr bwMode="gray"/>
        <p:txBody>
          <a:bodyPr/>
          <a:lstStyle/>
          <a:p>
            <a:pPr algn="l"/>
            <a:r>
              <a:rPr lang="fr-FR"/>
              <a:t>EcoTitanium / UKAD : les avantages de la filière Titane</a:t>
            </a:r>
            <a:endParaRPr lang="fr-FR" dirty="0"/>
          </a:p>
        </p:txBody>
      </p:sp>
      <p:sp>
        <p:nvSpPr>
          <p:cNvPr id="11" name="Espace réservé du numéro de diapositive 10"/>
          <p:cNvSpPr>
            <a:spLocks noGrp="1"/>
          </p:cNvSpPr>
          <p:nvPr>
            <p:ph type="sldNum" sz="quarter" idx="16"/>
          </p:nvPr>
        </p:nvSpPr>
        <p:spPr bwMode="gray"/>
        <p:txBody>
          <a:bodyPr/>
          <a:lstStyle/>
          <a:p>
            <a:fld id="{733122C9-A0B9-462F-8757-0847AD287B63}" type="slidenum">
              <a:rPr lang="fr-FR" smtClean="0"/>
              <a:pPr/>
              <a:t>‹N°›</a:t>
            </a:fld>
            <a:endParaRPr lang="fr-FR" dirty="0"/>
          </a:p>
        </p:txBody>
      </p:sp>
      <p:cxnSp>
        <p:nvCxnSpPr>
          <p:cNvPr id="13" name="Connecteur droit 12"/>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13"/>
          <p:cNvSpPr>
            <a:spLocks noGrp="1"/>
          </p:cNvSpPr>
          <p:nvPr>
            <p:ph type="body" sz="quarter" idx="18" hasCustomPrompt="1"/>
          </p:nvPr>
        </p:nvSpPr>
        <p:spPr bwMode="gray">
          <a:xfrm>
            <a:off x="4860000" y="1242000"/>
            <a:ext cx="374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2192816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re et contenu chiffres clés">
    <p:spTree>
      <p:nvGrpSpPr>
        <p:cNvPr id="1" name=""/>
        <p:cNvGrpSpPr/>
        <p:nvPr/>
      </p:nvGrpSpPr>
      <p:grpSpPr>
        <a:xfrm>
          <a:off x="0" y="0"/>
          <a:ext cx="0" cy="0"/>
          <a:chOff x="0" y="0"/>
          <a:chExt cx="0" cy="0"/>
        </a:xfrm>
      </p:grpSpPr>
      <p:sp>
        <p:nvSpPr>
          <p:cNvPr id="12" name="Espace réservé pour une image  10"/>
          <p:cNvSpPr>
            <a:spLocks noGrp="1"/>
          </p:cNvSpPr>
          <p:nvPr>
            <p:ph type="pic" sz="quarter" idx="19" hasCustomPrompt="1"/>
          </p:nvPr>
        </p:nvSpPr>
        <p:spPr bwMode="gray">
          <a:xfrm>
            <a:off x="540000" y="1291282"/>
            <a:ext cx="4032000" cy="3924000"/>
          </a:xfrm>
          <a:solidFill>
            <a:schemeClr val="bg1">
              <a:lumMod val="95000"/>
            </a:schemeClr>
          </a:solidFill>
        </p:spPr>
        <p:txBody>
          <a:bodyPr tIns="900000" anchor="ctr" anchorCtr="0"/>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a:solidFill>
                  <a:schemeClr val="tx2"/>
                </a:solidFill>
              </a:defRPr>
            </a:lvl1pPr>
          </a:lstStyle>
          <a:p>
            <a:r>
              <a:rPr lang="fr-FR" noProof="0" dirty="0"/>
              <a:t>Sélectionner l’icône pour insérer une image</a:t>
            </a:r>
          </a:p>
        </p:txBody>
      </p:sp>
      <p:sp>
        <p:nvSpPr>
          <p:cNvPr id="4" name="Titre 3"/>
          <p:cNvSpPr>
            <a:spLocks noGrp="1"/>
          </p:cNvSpPr>
          <p:nvPr>
            <p:ph type="title"/>
          </p:nvPr>
        </p:nvSpPr>
        <p:spPr bwMode="gray"/>
        <p:txBody>
          <a:bodyPr/>
          <a:lstStyle/>
          <a:p>
            <a:r>
              <a:rPr lang="fr-FR"/>
              <a:t>Modifiez le style du titr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4" name="Espace réservé du numéro de diapositive 13"/>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Espace réservé du texte 13"/>
          <p:cNvSpPr>
            <a:spLocks noGrp="1"/>
          </p:cNvSpPr>
          <p:nvPr>
            <p:ph type="body" sz="quarter" idx="18" hasCustomPrompt="1"/>
          </p:nvPr>
        </p:nvSpPr>
        <p:spPr bwMode="gray">
          <a:xfrm>
            <a:off x="4860000" y="1242882"/>
            <a:ext cx="3744000" cy="3060000"/>
          </a:xfrm>
        </p:spPr>
        <p:txBody>
          <a:bodyPr/>
          <a:lstStyle>
            <a:lvl5pPr marL="712800" indent="-266400">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9" name="Espace réservé du texte 4"/>
          <p:cNvSpPr>
            <a:spLocks noGrp="1"/>
          </p:cNvSpPr>
          <p:nvPr>
            <p:ph type="body" sz="quarter" idx="20" hasCustomPrompt="1"/>
          </p:nvPr>
        </p:nvSpPr>
        <p:spPr bwMode="gray">
          <a:xfrm>
            <a:off x="5336890"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0" name="Espace réservé du texte 4"/>
          <p:cNvSpPr>
            <a:spLocks noGrp="1"/>
          </p:cNvSpPr>
          <p:nvPr>
            <p:ph type="body" sz="quarter" idx="21" hasCustomPrompt="1"/>
          </p:nvPr>
        </p:nvSpPr>
        <p:spPr bwMode="gray">
          <a:xfrm>
            <a:off x="7126964" y="4347852"/>
            <a:ext cx="1620000" cy="972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Tree>
    <p:extLst>
      <p:ext uri="{BB962C8B-B14F-4D97-AF65-F5344CB8AC3E}">
        <p14:creationId xmlns:p14="http://schemas.microsoft.com/office/powerpoint/2010/main" val="20050561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re et contenu texte encadré">
    <p:spTree>
      <p:nvGrpSpPr>
        <p:cNvPr id="1" name=""/>
        <p:cNvGrpSpPr/>
        <p:nvPr/>
      </p:nvGrpSpPr>
      <p:grpSpPr>
        <a:xfrm>
          <a:off x="0" y="0"/>
          <a:ext cx="0" cy="0"/>
          <a:chOff x="0" y="0"/>
          <a:chExt cx="0" cy="0"/>
        </a:xfrm>
      </p:grpSpPr>
      <p:sp>
        <p:nvSpPr>
          <p:cNvPr id="12" name="Rectangle 11"/>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du texte 13"/>
          <p:cNvSpPr>
            <a:spLocks noGrp="1"/>
          </p:cNvSpPr>
          <p:nvPr>
            <p:ph type="body" sz="quarter" idx="18"/>
          </p:nvPr>
        </p:nvSpPr>
        <p:spPr bwMode="gray">
          <a:xfrm>
            <a:off x="4874401" y="1306264"/>
            <a:ext cx="3730075" cy="3762000"/>
          </a:xfrm>
          <a:ln w="22225">
            <a:noFill/>
            <a:miter lim="800000"/>
          </a:ln>
        </p:spPr>
        <p:txBody>
          <a:bodyPr lIns="216000" tIns="216000" rIns="108000"/>
          <a:lstStyle>
            <a:lvl1pPr marL="3600">
              <a:lnSpc>
                <a:spcPct val="97000"/>
              </a:lnSpc>
              <a:spcAft>
                <a:spcPts val="0"/>
              </a:spcAft>
              <a:defRPr sz="1200" baseline="0"/>
            </a:lvl1pPr>
            <a:lvl2pPr marL="0" indent="0">
              <a:lnSpc>
                <a:spcPct val="97000"/>
              </a:lnSpc>
              <a:spcBef>
                <a:spcPts val="0"/>
              </a:spcBef>
              <a:buNone/>
              <a:tabLst>
                <a:tab pos="0" algn="l"/>
              </a:tabLst>
              <a:defRPr b="0">
                <a:solidFill>
                  <a:schemeClr val="accent2"/>
                </a:solidFill>
              </a:defRPr>
            </a:lvl2pPr>
            <a:lvl3pPr marL="3175" indent="0">
              <a:buFont typeface="Arial" pitchFamily="34" charset="0"/>
              <a:buNone/>
              <a:defRPr/>
            </a:lvl3pPr>
            <a:lvl4pPr marL="4762" indent="0">
              <a:buNone/>
              <a:defRPr/>
            </a:lvl4pPr>
            <a:lvl5pPr marL="3175" indent="0">
              <a:buNone/>
              <a:defRPr/>
            </a:lvl5pPr>
          </a:lstStyle>
          <a:p>
            <a:pPr lvl="0"/>
            <a:r>
              <a:rPr lang="fr-FR"/>
              <a:t>Modifier les styles du texte du masque</a:t>
            </a:r>
          </a:p>
          <a:p>
            <a:pPr lvl="1"/>
            <a:r>
              <a:rPr lang="fr-FR"/>
              <a:t>Deuxième niveau</a:t>
            </a:r>
          </a:p>
        </p:txBody>
      </p:sp>
      <p:sp>
        <p:nvSpPr>
          <p:cNvPr id="5" name="Espace réservé de la date 4"/>
          <p:cNvSpPr>
            <a:spLocks noGrp="1"/>
          </p:cNvSpPr>
          <p:nvPr>
            <p:ph type="dt" sz="half" idx="19"/>
          </p:nvPr>
        </p:nvSpPr>
        <p:spPr bwMode="gray"/>
        <p:txBody>
          <a:bodyPr/>
          <a:lstStyle/>
          <a:p>
            <a:r>
              <a:rPr lang="fr-FR"/>
              <a:t>Date</a:t>
            </a:r>
            <a:endParaRPr lang="fr-FR" dirty="0"/>
          </a:p>
        </p:txBody>
      </p:sp>
      <p:sp>
        <p:nvSpPr>
          <p:cNvPr id="6" name="Espace réservé du pied de page 5"/>
          <p:cNvSpPr>
            <a:spLocks noGrp="1"/>
          </p:cNvSpPr>
          <p:nvPr>
            <p:ph type="ftr" sz="quarter" idx="20"/>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1"/>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8"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67835536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re et contenu chiffres clés encadrés">
    <p:spTree>
      <p:nvGrpSpPr>
        <p:cNvPr id="1" name=""/>
        <p:cNvGrpSpPr/>
        <p:nvPr/>
      </p:nvGrpSpPr>
      <p:grpSpPr>
        <a:xfrm>
          <a:off x="0" y="0"/>
          <a:ext cx="0" cy="0"/>
          <a:chOff x="0" y="0"/>
          <a:chExt cx="0" cy="0"/>
        </a:xfrm>
      </p:grpSpPr>
      <p:sp>
        <p:nvSpPr>
          <p:cNvPr id="6" name="Titre 5"/>
          <p:cNvSpPr>
            <a:spLocks noGrp="1"/>
          </p:cNvSpPr>
          <p:nvPr>
            <p:ph type="title"/>
          </p:nvPr>
        </p:nvSpPr>
        <p:spPr bwMode="gray"/>
        <p:txBody>
          <a:bodyPr/>
          <a:lstStyle/>
          <a:p>
            <a:r>
              <a:rPr lang="fr-FR"/>
              <a:t>Modifiez le style du titre</a:t>
            </a:r>
          </a:p>
        </p:txBody>
      </p:sp>
      <p:sp>
        <p:nvSpPr>
          <p:cNvPr id="7" name="Espace réservé de la date 6"/>
          <p:cNvSpPr>
            <a:spLocks noGrp="1"/>
          </p:cNvSpPr>
          <p:nvPr>
            <p:ph type="dt" sz="half" idx="24"/>
          </p:nvPr>
        </p:nvSpPr>
        <p:spPr bwMode="gray"/>
        <p:txBody>
          <a:bodyPr/>
          <a:lstStyle/>
          <a:p>
            <a:r>
              <a:rPr lang="fr-FR"/>
              <a:t>Date</a:t>
            </a:r>
            <a:endParaRPr lang="fr-FR" dirty="0"/>
          </a:p>
        </p:txBody>
      </p:sp>
      <p:sp>
        <p:nvSpPr>
          <p:cNvPr id="15" name="Espace réservé du pied de page 14"/>
          <p:cNvSpPr>
            <a:spLocks noGrp="1"/>
          </p:cNvSpPr>
          <p:nvPr>
            <p:ph type="ftr" sz="quarter" idx="25"/>
          </p:nvPr>
        </p:nvSpPr>
        <p:spPr bwMode="gray"/>
        <p:txBody>
          <a:bodyPr/>
          <a:lstStyle/>
          <a:p>
            <a:pPr algn="l"/>
            <a:r>
              <a:rPr lang="fr-FR"/>
              <a:t>EcoTitanium / UKAD : les avantages de la filière Titane</a:t>
            </a:r>
            <a:endParaRPr lang="fr-FR" dirty="0"/>
          </a:p>
        </p:txBody>
      </p:sp>
      <p:sp>
        <p:nvSpPr>
          <p:cNvPr id="18" name="Espace réservé du numéro de diapositive 17"/>
          <p:cNvSpPr>
            <a:spLocks noGrp="1"/>
          </p:cNvSpPr>
          <p:nvPr>
            <p:ph type="sldNum" sz="quarter" idx="26"/>
          </p:nvPr>
        </p:nvSpPr>
        <p:spPr bwMode="gray"/>
        <p:txBody>
          <a:bodyPr/>
          <a:lstStyle/>
          <a:p>
            <a:fld id="{733122C9-A0B9-462F-8757-0847AD287B63}" type="slidenum">
              <a:rPr lang="fr-FR" smtClean="0"/>
              <a:pPr/>
              <a:t>‹N°›</a:t>
            </a:fld>
            <a:endParaRPr lang="fr-FR" dirty="0"/>
          </a:p>
        </p:txBody>
      </p:sp>
      <p:cxnSp>
        <p:nvCxnSpPr>
          <p:cNvPr id="20" name="Connecteur droit 19"/>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7" hasCustomPrompt="1"/>
          </p:nvPr>
        </p:nvSpPr>
        <p:spPr bwMode="gray">
          <a:xfrm>
            <a:off x="540000" y="1242000"/>
            <a:ext cx="4104000" cy="4860000"/>
          </a:xfrm>
        </p:spPr>
        <p:txBody>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17" name="Espace réservé du texte 4"/>
          <p:cNvSpPr>
            <a:spLocks noGrp="1"/>
          </p:cNvSpPr>
          <p:nvPr>
            <p:ph type="body" sz="quarter" idx="20" hasCustomPrompt="1"/>
          </p:nvPr>
        </p:nvSpPr>
        <p:spPr bwMode="gray">
          <a:xfrm>
            <a:off x="511298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6" name="Espace réservé du texte 4"/>
          <p:cNvSpPr>
            <a:spLocks noGrp="1"/>
          </p:cNvSpPr>
          <p:nvPr>
            <p:ph type="body" sz="quarter" idx="21" hasCustomPrompt="1"/>
          </p:nvPr>
        </p:nvSpPr>
        <p:spPr bwMode="gray">
          <a:xfrm>
            <a:off x="6903814" y="1757064"/>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7" name="Espace réservé du texte 4"/>
          <p:cNvSpPr>
            <a:spLocks noGrp="1"/>
          </p:cNvSpPr>
          <p:nvPr>
            <p:ph type="body" sz="quarter" idx="27" hasCustomPrompt="1"/>
          </p:nvPr>
        </p:nvSpPr>
        <p:spPr bwMode="gray">
          <a:xfrm>
            <a:off x="511298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8" name="Espace réservé du texte 4"/>
          <p:cNvSpPr>
            <a:spLocks noGrp="1"/>
          </p:cNvSpPr>
          <p:nvPr>
            <p:ph type="body" sz="quarter" idx="28" hasCustomPrompt="1"/>
          </p:nvPr>
        </p:nvSpPr>
        <p:spPr bwMode="gray">
          <a:xfrm>
            <a:off x="6903814" y="3410400"/>
            <a:ext cx="1620000" cy="1620000"/>
          </a:xfrm>
        </p:spPr>
        <p:txBody>
          <a:bodyPr/>
          <a:lstStyle>
            <a:lvl1pPr>
              <a:spcAft>
                <a:spcPts val="200"/>
              </a:spcAft>
              <a:defRPr sz="3500"/>
            </a:lvl1pPr>
            <a:lvl2pPr marL="0" indent="0">
              <a:spcBef>
                <a:spcPts val="0"/>
              </a:spcBef>
              <a:buNone/>
              <a:defRPr sz="1200" b="0"/>
            </a:lvl2pPr>
          </a:lstStyle>
          <a:p>
            <a:pPr lvl="0"/>
            <a:r>
              <a:rPr lang="fr-FR" dirty="0"/>
              <a:t>00%</a:t>
            </a:r>
          </a:p>
          <a:p>
            <a:pPr lvl="1"/>
            <a:r>
              <a:rPr lang="fr-FR" dirty="0"/>
              <a:t>Texte</a:t>
            </a:r>
          </a:p>
        </p:txBody>
      </p:sp>
      <p:sp>
        <p:nvSpPr>
          <p:cNvPr id="29"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14" name="Rectangle 13"/>
          <p:cNvSpPr/>
          <p:nvPr/>
        </p:nvSpPr>
        <p:spPr bwMode="gray">
          <a:xfrm>
            <a:off x="4874400" y="1306264"/>
            <a:ext cx="3729600" cy="3762000"/>
          </a:xfrm>
          <a:prstGeom prst="rect">
            <a:avLst/>
          </a:prstGeom>
          <a:noFill/>
          <a:ln w="12700">
            <a:gradFill flip="none" rotWithShape="1">
              <a:gsLst>
                <a:gs pos="37000">
                  <a:schemeClr val="accent2"/>
                </a:gs>
                <a:gs pos="0">
                  <a:schemeClr val="accent1"/>
                </a:gs>
                <a:gs pos="63000">
                  <a:schemeClr val="accent3"/>
                </a:gs>
                <a:gs pos="100000">
                  <a:schemeClr val="accent4"/>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13447290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itre C">
    <p:spTree>
      <p:nvGrpSpPr>
        <p:cNvPr id="1" name=""/>
        <p:cNvGrpSpPr/>
        <p:nvPr/>
      </p:nvGrpSpPr>
      <p:grpSpPr>
        <a:xfrm>
          <a:off x="0" y="0"/>
          <a:ext cx="0" cy="0"/>
          <a:chOff x="0" y="0"/>
          <a:chExt cx="0" cy="0"/>
        </a:xfrm>
      </p:grpSpPr>
      <p:sp>
        <p:nvSpPr>
          <p:cNvPr id="10"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Titre 2"/>
          <p:cNvSpPr>
            <a:spLocks noGrp="1"/>
          </p:cNvSpPr>
          <p:nvPr>
            <p:ph type="title" hasCustomPrompt="1"/>
          </p:nvPr>
        </p:nvSpPr>
        <p:spPr bwMode="gray">
          <a:xfrm>
            <a:off x="5156772" y="184872"/>
            <a:ext cx="3732790" cy="1872208"/>
          </a:xfrm>
        </p:spPr>
        <p:txBody>
          <a:bodyPr/>
          <a:lstStyle>
            <a:lvl1pPr algn="r">
              <a:defRPr sz="12400" b="0">
                <a:solidFill>
                  <a:schemeClr val="tx2"/>
                </a:solidFill>
              </a:defRPr>
            </a:lvl1pPr>
          </a:lstStyle>
          <a:p>
            <a:r>
              <a:rPr lang="fr-FR" noProof="0" dirty="0"/>
              <a:t>OO</a:t>
            </a:r>
            <a:endParaRPr lang="fr-FR" dirty="0"/>
          </a:p>
        </p:txBody>
      </p:sp>
      <p:sp>
        <p:nvSpPr>
          <p:cNvPr id="2" name="Espace réservé de la date 1"/>
          <p:cNvSpPr>
            <a:spLocks noGrp="1"/>
          </p:cNvSpPr>
          <p:nvPr>
            <p:ph type="dt" sz="half" idx="14"/>
          </p:nvPr>
        </p:nvSpPr>
        <p:spPr bwMode="gray">
          <a:xfrm>
            <a:off x="0" y="6678000"/>
            <a:ext cx="180000" cy="180000"/>
          </a:xfrm>
        </p:spPr>
        <p:txBody>
          <a:bodyPr/>
          <a:lstStyle/>
          <a:p>
            <a:r>
              <a:rPr lang="fr-FR"/>
              <a:t>Date</a:t>
            </a:r>
            <a:endParaRPr lang="fr-FR" dirty="0"/>
          </a:p>
        </p:txBody>
      </p:sp>
      <p:sp>
        <p:nvSpPr>
          <p:cNvPr id="4" name="Espace réservé du pied de page 3"/>
          <p:cNvSpPr>
            <a:spLocks noGrp="1"/>
          </p:cNvSpPr>
          <p:nvPr>
            <p:ph type="ftr" sz="quarter" idx="15"/>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16"/>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9" name="Espace réservé du texte 8"/>
          <p:cNvSpPr>
            <a:spLocks noGrp="1"/>
          </p:cNvSpPr>
          <p:nvPr>
            <p:ph type="body" sz="quarter" idx="17"/>
          </p:nvPr>
        </p:nvSpPr>
        <p:spPr bwMode="gray">
          <a:xfrm>
            <a:off x="540000" y="2631014"/>
            <a:ext cx="5220000" cy="3095625"/>
          </a:xfrm>
        </p:spPr>
        <p:txBody>
          <a:bodyPr/>
          <a:lstStyle>
            <a:lvl1pPr>
              <a:lnSpc>
                <a:spcPct val="90000"/>
              </a:lnSpc>
              <a:spcAft>
                <a:spcPts val="1700"/>
              </a:spcAft>
              <a:defRPr sz="2800">
                <a:solidFill>
                  <a:schemeClr val="tx2"/>
                </a:solidFill>
              </a:defRPr>
            </a:lvl1pPr>
            <a:lvl2pPr marL="0" indent="0">
              <a:buNone/>
              <a:defRPr sz="2200" b="0">
                <a:solidFill>
                  <a:schemeClr val="tx2"/>
                </a:solidFill>
              </a:defRPr>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0170676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re et contenu graphique A">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600000" cy="4104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280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088698"/>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187277611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re et contenu graphique B">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83130" y="1242000"/>
            <a:ext cx="3780000" cy="4176000"/>
          </a:xfrm>
        </p:spPr>
        <p:txBody>
          <a:bodyPr tIns="900000" anchor="ctr" anchorCtr="0"/>
          <a:lstStyle>
            <a:lvl1pPr marL="0" indent="0" algn="ctr">
              <a:buNone/>
              <a:defRPr sz="1000" baseline="0">
                <a:solidFill>
                  <a:schemeClr val="tx2"/>
                </a:solidFill>
              </a:defRPr>
            </a:lvl1pPr>
          </a:lstStyle>
          <a:p>
            <a:r>
              <a:rPr lang="fr-FR" noProof="0" dirty="0"/>
              <a:t>Sélectionner l’icône pour insérer un graphique</a:t>
            </a:r>
          </a:p>
        </p:txBody>
      </p:sp>
      <p:sp>
        <p:nvSpPr>
          <p:cNvPr id="5" name="Espace réservé de la date 4"/>
          <p:cNvSpPr>
            <a:spLocks noGrp="1"/>
          </p:cNvSpPr>
          <p:nvPr>
            <p:ph type="dt" sz="half" idx="20"/>
          </p:nvPr>
        </p:nvSpPr>
        <p:spPr bwMode="gray"/>
        <p:txBody>
          <a:bodyPr/>
          <a:lstStyle/>
          <a:p>
            <a:r>
              <a:rPr lang="fr-FR"/>
              <a:t>Date</a:t>
            </a:r>
            <a:endParaRPr lang="fr-FR" dirty="0"/>
          </a:p>
        </p:txBody>
      </p:sp>
      <p:sp>
        <p:nvSpPr>
          <p:cNvPr id="6" name="Espace réservé du pied de page 5"/>
          <p:cNvSpPr>
            <a:spLocks noGrp="1"/>
          </p:cNvSpPr>
          <p:nvPr>
            <p:ph type="ftr" sz="quarter" idx="21"/>
          </p:nvPr>
        </p:nvSpPr>
        <p:spPr bwMode="gray"/>
        <p:txBody>
          <a:bodyPr/>
          <a:lstStyle/>
          <a:p>
            <a:pPr algn="l"/>
            <a:r>
              <a:rPr lang="fr-FR"/>
              <a:t>EcoTitanium / UKAD : les avantages de la filière Titane</a:t>
            </a:r>
            <a:endParaRPr lang="fr-FR" dirty="0"/>
          </a:p>
        </p:txBody>
      </p:sp>
      <p:sp>
        <p:nvSpPr>
          <p:cNvPr id="7" name="Espace réservé du numéro de diapositive 6"/>
          <p:cNvSpPr>
            <a:spLocks noGrp="1"/>
          </p:cNvSpPr>
          <p:nvPr>
            <p:ph type="sldNum" sz="quarter" idx="22"/>
          </p:nvPr>
        </p:nvSpPr>
        <p:spPr bwMode="gray"/>
        <p:txBody>
          <a:bodyPr/>
          <a:lstStyle/>
          <a:p>
            <a:fld id="{733122C9-A0B9-462F-8757-0847AD287B63}" type="slidenum">
              <a:rPr lang="fr-FR" smtClean="0"/>
              <a:pPr/>
              <a:t>‹N°›</a:t>
            </a:fld>
            <a:endParaRPr lang="fr-FR" dirty="0"/>
          </a:p>
        </p:txBody>
      </p:sp>
      <p:cxnSp>
        <p:nvCxnSpPr>
          <p:cNvPr id="17" name="Connecteur droit 16"/>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Espace réservé du texte 13"/>
          <p:cNvSpPr>
            <a:spLocks noGrp="1"/>
          </p:cNvSpPr>
          <p:nvPr>
            <p:ph type="body" sz="quarter" idx="18" hasCustomPrompt="1"/>
          </p:nvPr>
        </p:nvSpPr>
        <p:spPr bwMode="gray">
          <a:xfrm>
            <a:off x="4860000" y="1242000"/>
            <a:ext cx="3744000" cy="3168000"/>
          </a:xfrm>
        </p:spPr>
        <p:txBody>
          <a:bodyPr/>
          <a:lstStyle>
            <a:lvl5pPr marL="712788" indent="-265113">
              <a:defRPr/>
            </a:lvl5pPr>
            <a:lvl6pPr marL="900000" indent="-180975">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
        <p:nvSpPr>
          <p:cNvPr id="15" name="Espace réservé du texte 4"/>
          <p:cNvSpPr>
            <a:spLocks noGrp="1"/>
          </p:cNvSpPr>
          <p:nvPr>
            <p:ph type="body" sz="quarter" idx="23" hasCustomPrompt="1"/>
          </p:nvPr>
        </p:nvSpPr>
        <p:spPr bwMode="gray">
          <a:xfrm>
            <a:off x="5336890"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
        <p:nvSpPr>
          <p:cNvPr id="21" name="Espace réservé du texte 4"/>
          <p:cNvSpPr>
            <a:spLocks noGrp="1"/>
          </p:cNvSpPr>
          <p:nvPr>
            <p:ph type="body" sz="quarter" idx="24" hasCustomPrompt="1"/>
          </p:nvPr>
        </p:nvSpPr>
        <p:spPr bwMode="gray">
          <a:xfrm>
            <a:off x="7126964" y="4463150"/>
            <a:ext cx="1620000" cy="1440000"/>
          </a:xfrm>
        </p:spPr>
        <p:txBody>
          <a:bodyPr/>
          <a:lstStyle>
            <a:lvl1pPr>
              <a:spcAft>
                <a:spcPts val="0"/>
              </a:spcAft>
              <a:defRPr sz="3500"/>
            </a:lvl1pPr>
            <a:lvl2pPr marL="0" indent="0">
              <a:spcBef>
                <a:spcPts val="0"/>
              </a:spcBef>
              <a:buNone/>
              <a:defRPr sz="1200" b="0"/>
            </a:lvl2pPr>
          </a:lstStyle>
          <a:p>
            <a:pPr lvl="0"/>
            <a:r>
              <a:rPr lang="fr-FR" dirty="0"/>
              <a:t>00%</a:t>
            </a:r>
          </a:p>
          <a:p>
            <a:pPr lvl="1"/>
            <a:r>
              <a:rPr lang="fr-FR" dirty="0"/>
              <a:t>Texte</a:t>
            </a:r>
          </a:p>
        </p:txBody>
      </p:sp>
    </p:spTree>
    <p:extLst>
      <p:ext uri="{BB962C8B-B14F-4D97-AF65-F5344CB8AC3E}">
        <p14:creationId xmlns:p14="http://schemas.microsoft.com/office/powerpoint/2010/main" val="238434143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re et contenu 2 graphiques">
    <p:spTree>
      <p:nvGrpSpPr>
        <p:cNvPr id="1" name=""/>
        <p:cNvGrpSpPr/>
        <p:nvPr/>
      </p:nvGrpSpPr>
      <p:grpSpPr>
        <a:xfrm>
          <a:off x="0" y="0"/>
          <a:ext cx="0" cy="0"/>
          <a:chOff x="0" y="0"/>
          <a:chExt cx="0" cy="0"/>
        </a:xfrm>
      </p:grpSpPr>
      <p:sp>
        <p:nvSpPr>
          <p:cNvPr id="14" name="Espace réservé du graphique 16"/>
          <p:cNvSpPr>
            <a:spLocks noGrp="1"/>
          </p:cNvSpPr>
          <p:nvPr>
            <p:ph type="chart" sz="quarter" idx="19" hasCustomPrompt="1"/>
          </p:nvPr>
        </p:nvSpPr>
        <p:spPr bwMode="gray">
          <a:xfrm>
            <a:off x="540000" y="2420888"/>
            <a:ext cx="3600000" cy="3348000"/>
          </a:xfrm>
        </p:spPr>
        <p:txBody>
          <a:bodyPr tIns="900000" anchor="ctr" anchorCtr="0"/>
          <a:lstStyle>
            <a:lvl1pPr marL="0" indent="0" algn="ctr">
              <a:buNone/>
              <a:defRPr baseline="0"/>
            </a:lvl1pPr>
          </a:lstStyle>
          <a:p>
            <a:r>
              <a:rPr lang="fr-FR" noProof="0"/>
              <a:t>Sélectionner l’icône pour insérer un graphique</a:t>
            </a:r>
          </a:p>
        </p:txBody>
      </p:sp>
      <p:sp>
        <p:nvSpPr>
          <p:cNvPr id="13" name="Espace réservé du graphique 16"/>
          <p:cNvSpPr>
            <a:spLocks noGrp="1"/>
          </p:cNvSpPr>
          <p:nvPr>
            <p:ph type="chart" sz="quarter" idx="21" hasCustomPrompt="1"/>
          </p:nvPr>
        </p:nvSpPr>
        <p:spPr bwMode="gray">
          <a:xfrm>
            <a:off x="5004000" y="2420888"/>
            <a:ext cx="3600000" cy="3348000"/>
          </a:xfrm>
        </p:spPr>
        <p:txBody>
          <a:bodyPr tIns="900000" anchor="ctr" anchorCtr="0"/>
          <a:lstStyle>
            <a:lvl1pPr marL="0" indent="0" algn="ctr">
              <a:buNone/>
              <a:defRPr baseline="0"/>
            </a:lvl1pPr>
          </a:lstStyle>
          <a:p>
            <a:r>
              <a:rPr lang="fr-FR" noProof="0" dirty="0"/>
              <a:t>Sélectionner l’icône pour insérer un graphique</a:t>
            </a:r>
          </a:p>
        </p:txBody>
      </p:sp>
      <p:sp>
        <p:nvSpPr>
          <p:cNvPr id="6" name="Espace réservé de la date 5"/>
          <p:cNvSpPr>
            <a:spLocks noGrp="1"/>
          </p:cNvSpPr>
          <p:nvPr>
            <p:ph type="dt" sz="half" idx="22"/>
          </p:nvPr>
        </p:nvSpPr>
        <p:spPr bwMode="gray"/>
        <p:txBody>
          <a:bodyPr/>
          <a:lstStyle/>
          <a:p>
            <a:r>
              <a:rPr lang="fr-FR"/>
              <a:t>Date</a:t>
            </a:r>
            <a:endParaRPr lang="fr-FR" dirty="0"/>
          </a:p>
        </p:txBody>
      </p:sp>
      <p:sp>
        <p:nvSpPr>
          <p:cNvPr id="7" name="Espace réservé du pied de page 6"/>
          <p:cNvSpPr>
            <a:spLocks noGrp="1"/>
          </p:cNvSpPr>
          <p:nvPr>
            <p:ph type="ftr" sz="quarter" idx="23"/>
          </p:nvPr>
        </p:nvSpPr>
        <p:spPr bwMode="gray"/>
        <p:txBody>
          <a:bodyPr/>
          <a:lstStyle/>
          <a:p>
            <a:pPr algn="l"/>
            <a:r>
              <a:rPr lang="fr-FR"/>
              <a:t>EcoTitanium / UKAD : les avantages de la filière Titane</a:t>
            </a:r>
            <a:endParaRPr lang="fr-FR" dirty="0"/>
          </a:p>
        </p:txBody>
      </p:sp>
      <p:sp>
        <p:nvSpPr>
          <p:cNvPr id="16" name="Espace réservé du numéro de diapositive 15"/>
          <p:cNvSpPr>
            <a:spLocks noGrp="1"/>
          </p:cNvSpPr>
          <p:nvPr>
            <p:ph type="sldNum" sz="quarter" idx="24"/>
          </p:nvPr>
        </p:nvSpPr>
        <p:spPr bwMode="gray"/>
        <p:txBody>
          <a:bodyPr/>
          <a:lstStyle/>
          <a:p>
            <a:fld id="{733122C9-A0B9-462F-8757-0847AD287B63}" type="slidenum">
              <a:rPr lang="fr-FR" smtClean="0"/>
              <a:pPr/>
              <a:t>‹N°›</a:t>
            </a:fld>
            <a:endParaRPr lang="fr-FR" dirty="0"/>
          </a:p>
        </p:txBody>
      </p:sp>
      <p:cxnSp>
        <p:nvCxnSpPr>
          <p:cNvPr id="18" name="Connecteur droit 17"/>
          <p:cNvCxnSpPr/>
          <p:nvPr/>
        </p:nvCxnSpPr>
        <p:spPr bwMode="gray">
          <a:xfrm>
            <a:off x="540000" y="972000"/>
            <a:ext cx="4032000" cy="0"/>
          </a:xfrm>
          <a:prstGeom prst="line">
            <a:avLst/>
          </a:prstGeom>
          <a:ln w="19050">
            <a:gradFill flip="none" rotWithShape="1">
              <a:gsLst>
                <a:gs pos="0">
                  <a:schemeClr val="accent1"/>
                </a:gs>
                <a:gs pos="63000">
                  <a:schemeClr val="accent3"/>
                </a:gs>
                <a:gs pos="37000">
                  <a:schemeClr val="accent2"/>
                </a:gs>
                <a:gs pos="100000">
                  <a:schemeClr val="accent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Espace réservé du texte 13"/>
          <p:cNvSpPr>
            <a:spLocks noGrp="1"/>
          </p:cNvSpPr>
          <p:nvPr>
            <p:ph type="body" sz="quarter" idx="18" hasCustomPrompt="1"/>
          </p:nvPr>
        </p:nvSpPr>
        <p:spPr bwMode="gray">
          <a:xfrm>
            <a:off x="540000" y="1242000"/>
            <a:ext cx="410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0" name="Espace réservé du texte 13"/>
          <p:cNvSpPr>
            <a:spLocks noGrp="1"/>
          </p:cNvSpPr>
          <p:nvPr>
            <p:ph type="body" sz="quarter" idx="20" hasCustomPrompt="1"/>
          </p:nvPr>
        </p:nvSpPr>
        <p:spPr bwMode="gray">
          <a:xfrm>
            <a:off x="4860000" y="1242000"/>
            <a:ext cx="3744000" cy="1188000"/>
          </a:xfrm>
        </p:spPr>
        <p:txBody>
          <a:bodyPr/>
          <a:lstStyle>
            <a:lvl5pPr marL="446400" indent="-26640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21" name="Espace réservé du texte 7"/>
          <p:cNvSpPr>
            <a:spLocks noGrp="1"/>
          </p:cNvSpPr>
          <p:nvPr>
            <p:ph type="body" sz="quarter" idx="13" hasCustomPrompt="1"/>
          </p:nvPr>
        </p:nvSpPr>
        <p:spPr bwMode="gray">
          <a:xfrm>
            <a:off x="4391980" y="6058800"/>
            <a:ext cx="2016000" cy="576000"/>
          </a:xfrm>
        </p:spPr>
        <p:txBody>
          <a:bodyPr anchor="b" anchorCtr="0"/>
          <a:lstStyle>
            <a:lvl1pPr>
              <a:defRPr sz="700" b="0">
                <a:solidFill>
                  <a:schemeClr val="tx2"/>
                </a:solidFill>
              </a:defRPr>
            </a:lvl1pPr>
          </a:lstStyle>
          <a:p>
            <a:pPr lvl="0"/>
            <a:r>
              <a:rPr lang="fr-FR" dirty="0"/>
              <a:t>*Note de bas de page</a:t>
            </a: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43448335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ontacts A">
    <p:bg bwMode="gray">
      <p:bgPr>
        <a:solidFill>
          <a:srgbClr val="182C53"/>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326723" y="5803168"/>
            <a:ext cx="1295233" cy="532800"/>
          </a:xfrm>
          <a:prstGeom prst="rect">
            <a:avLst/>
          </a:prstGeom>
        </p:spPr>
      </p:pic>
      <p:pic>
        <p:nvPicPr>
          <p:cNvPr id="10" name="Imag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64088" y="5920765"/>
            <a:ext cx="1694666" cy="626400"/>
          </a:xfrm>
          <a:prstGeom prst="rect">
            <a:avLst/>
          </a:prstGeom>
        </p:spPr>
      </p:pic>
      <p:grpSp>
        <p:nvGrpSpPr>
          <p:cNvPr id="55" name="Groupe 54"/>
          <p:cNvGrpSpPr/>
          <p:nvPr/>
        </p:nvGrpSpPr>
        <p:grpSpPr>
          <a:xfrm>
            <a:off x="9363035" y="28361"/>
            <a:ext cx="4214248" cy="1943442"/>
            <a:chOff x="9363034" y="28361"/>
            <a:chExt cx="4214248" cy="1943442"/>
          </a:xfrm>
        </p:grpSpPr>
        <p:sp>
          <p:nvSpPr>
            <p:cNvPr id="56"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7"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8"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9"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0"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1"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2"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3"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4"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5"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6"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7"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8"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9"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0"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1"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2"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3"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4"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5"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6"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7"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8"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9"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0"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1"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2"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0"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1"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2"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3"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4"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5"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6"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7"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137422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Contacts B">
    <p:bg bwMode="gray">
      <p:bgPr>
        <a:solidFill>
          <a:schemeClr val="accent4"/>
        </a:solidFill>
        <a:effectLst/>
      </p:bgPr>
    </p:bg>
    <p:spTree>
      <p:nvGrpSpPr>
        <p:cNvPr id="1" name=""/>
        <p:cNvGrpSpPr/>
        <p:nvPr/>
      </p:nvGrpSpPr>
      <p:grpSpPr>
        <a:xfrm>
          <a:off x="0" y="0"/>
          <a:ext cx="0" cy="0"/>
          <a:chOff x="0" y="0"/>
          <a:chExt cx="0" cy="0"/>
        </a:xfrm>
      </p:grpSpPr>
      <p:sp>
        <p:nvSpPr>
          <p:cNvPr id="14"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bg1"/>
                </a:solidFill>
              </a:defRPr>
            </a:lvl1pPr>
            <a:lvl2pPr marL="0" indent="0" algn="l">
              <a:spcBef>
                <a:spcPts val="0"/>
              </a:spcBef>
              <a:buNone/>
              <a:defRPr sz="1350" b="1" cap="all" baseline="0">
                <a:solidFill>
                  <a:schemeClr val="bg1"/>
                </a:solidFill>
              </a:defRPr>
            </a:lvl2pPr>
            <a:lvl3pPr marL="0" indent="0" algn="l">
              <a:spcBef>
                <a:spcPts val="0"/>
              </a:spcBef>
              <a:buNone/>
              <a:defRPr sz="1350" b="0" cap="none" baseline="0">
                <a:solidFill>
                  <a:schemeClr val="bg1"/>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3" name="Imag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7" name="Imag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326723" y="5803168"/>
            <a:ext cx="1295233" cy="532800"/>
          </a:xfrm>
          <a:prstGeom prst="rect">
            <a:avLst/>
          </a:prstGeom>
        </p:spPr>
      </p:pic>
      <p:pic>
        <p:nvPicPr>
          <p:cNvPr id="12" name="Imag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4088" y="5920765"/>
            <a:ext cx="1694666" cy="6264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0038429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Contacts C">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7" name="Imag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326722" y="5803168"/>
            <a:ext cx="1295232" cy="532800"/>
          </a:xfrm>
          <a:prstGeom prst="rect">
            <a:avLst/>
          </a:prstGeom>
        </p:spPr>
      </p:pic>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5" name="Image 54">
            <a:extLst>
              <a:ext uri="{FF2B5EF4-FFF2-40B4-BE49-F238E27FC236}">
                <a16:creationId xmlns:a16="http://schemas.microsoft.com/office/drawing/2014/main" id="{D7EDCD78-5E27-431E-AB4C-CC83D7AE295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6443" y="6128500"/>
            <a:ext cx="1800000" cy="207468"/>
          </a:xfrm>
          <a:prstGeom prst="rect">
            <a:avLst/>
          </a:prstGeom>
        </p:spPr>
      </p:pic>
    </p:spTree>
    <p:extLst>
      <p:ext uri="{BB962C8B-B14F-4D97-AF65-F5344CB8AC3E}">
        <p14:creationId xmlns:p14="http://schemas.microsoft.com/office/powerpoint/2010/main" val="12478876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1_Contacts D">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3" name="Sous-titre 2"/>
          <p:cNvSpPr>
            <a:spLocks noGrp="1"/>
          </p:cNvSpPr>
          <p:nvPr>
            <p:ph type="subTitle" idx="1" hasCustomPrompt="1"/>
          </p:nvPr>
        </p:nvSpPr>
        <p:spPr bwMode="gray">
          <a:xfrm>
            <a:off x="540000" y="2960948"/>
            <a:ext cx="3420000" cy="2016000"/>
          </a:xfrm>
        </p:spPr>
        <p:txBody>
          <a:bodyPr/>
          <a:lstStyle>
            <a:lvl1pPr marL="0" indent="0" algn="l">
              <a:spcBef>
                <a:spcPts val="1600"/>
              </a:spcBef>
              <a:spcAft>
                <a:spcPts val="0"/>
              </a:spcAft>
              <a:buNone/>
              <a:defRPr sz="1350" cap="none">
                <a:solidFill>
                  <a:schemeClr val="tx2"/>
                </a:solidFill>
              </a:defRPr>
            </a:lvl1pPr>
            <a:lvl2pPr marL="0" indent="0" algn="l">
              <a:spcBef>
                <a:spcPts val="0"/>
              </a:spcBef>
              <a:buNone/>
              <a:defRPr sz="1350" b="1" cap="all" baseline="0">
                <a:solidFill>
                  <a:schemeClr val="tx2"/>
                </a:solidFill>
              </a:defRPr>
            </a:lvl2pPr>
            <a:lvl3pPr marL="0" indent="0" algn="l">
              <a:spcBef>
                <a:spcPts val="0"/>
              </a:spcBef>
              <a:buNone/>
              <a:defRPr sz="1350" b="0" cap="none" baseline="0">
                <a:solidFill>
                  <a:schemeClr val="tx2"/>
                </a:solidFill>
              </a:defRPr>
            </a:lvl3pPr>
            <a:lvl4pPr marL="0" indent="0" algn="l">
              <a:spcBef>
                <a:spcPts val="2400"/>
              </a:spcBef>
              <a:buNone/>
              <a:defRPr sz="1600" b="1" baseline="0">
                <a:solidFill>
                  <a:schemeClr val="accent2"/>
                </a:solidFill>
              </a:defRPr>
            </a:lvl4pPr>
            <a:lvl5pPr marL="1828800" indent="0" algn="l">
              <a:buNone/>
              <a:defRPr>
                <a:solidFill>
                  <a:schemeClr val="tx1">
                    <a:tint val="75000"/>
                  </a:schemeClr>
                </a:solidFill>
              </a:defRPr>
            </a:lvl5pPr>
            <a:lvl6pPr marL="2286000" indent="0" algn="l">
              <a:buNone/>
              <a:defRPr>
                <a:solidFill>
                  <a:schemeClr val="tx1">
                    <a:tint val="75000"/>
                  </a:schemeClr>
                </a:solidFill>
              </a:defRPr>
            </a:lvl6pPr>
            <a:lvl7pPr marL="2743200" indent="0" algn="l">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Prénom NOM</a:t>
            </a:r>
          </a:p>
          <a:p>
            <a:pPr lvl="1"/>
            <a:r>
              <a:rPr lang="fr-FR" dirty="0"/>
              <a:t>Fonction</a:t>
            </a:r>
          </a:p>
          <a:p>
            <a:pPr lvl="2"/>
            <a:r>
              <a:rPr lang="fr-FR" dirty="0"/>
              <a:t>prenom.nom@erametgroup.com</a:t>
            </a:r>
          </a:p>
          <a:p>
            <a:pPr lvl="3"/>
            <a:r>
              <a:rPr lang="fr-FR" dirty="0"/>
              <a:t>Adresse internet</a:t>
            </a:r>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sp>
        <p:nvSpPr>
          <p:cNvPr id="11" name="Titre 10"/>
          <p:cNvSpPr>
            <a:spLocks noGrp="1"/>
          </p:cNvSpPr>
          <p:nvPr>
            <p:ph type="title" hasCustomPrompt="1"/>
          </p:nvPr>
        </p:nvSpPr>
        <p:spPr bwMode="gray">
          <a:xfrm>
            <a:off x="540000" y="2125940"/>
            <a:ext cx="3420000" cy="774000"/>
          </a:xfrm>
        </p:spPr>
        <p:txBody>
          <a:bodyPr/>
          <a:lstStyle>
            <a:lvl1pPr>
              <a:lnSpc>
                <a:spcPct val="100000"/>
              </a:lnSpc>
              <a:defRPr sz="1600" cap="all" baseline="0">
                <a:solidFill>
                  <a:schemeClr val="accent3"/>
                </a:solidFill>
              </a:defRPr>
            </a:lvl1pPr>
          </a:lstStyle>
          <a:p>
            <a:r>
              <a:rPr lang="fr-FR" dirty="0"/>
              <a:t>contacts</a:t>
            </a:r>
          </a:p>
        </p:txBody>
      </p:sp>
      <p:pic>
        <p:nvPicPr>
          <p:cNvPr id="17" name="Imag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7326722" y="5803168"/>
            <a:ext cx="1295232" cy="532800"/>
          </a:xfrm>
          <a:prstGeom prst="rect">
            <a:avLst/>
          </a:prstGeom>
        </p:spPr>
      </p:pic>
      <p:sp>
        <p:nvSpPr>
          <p:cNvPr id="13"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rgbClr val="E7E2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grpSp>
        <p:nvGrpSpPr>
          <p:cNvPr id="57" name="Groupe 56"/>
          <p:cNvGrpSpPr/>
          <p:nvPr/>
        </p:nvGrpSpPr>
        <p:grpSpPr>
          <a:xfrm>
            <a:off x="9363035" y="28361"/>
            <a:ext cx="4214248" cy="1943442"/>
            <a:chOff x="9363034" y="28361"/>
            <a:chExt cx="4214248" cy="1943442"/>
          </a:xfrm>
        </p:grpSpPr>
        <p:sp>
          <p:nvSpPr>
            <p:cNvPr id="58"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9"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60"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61"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62"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3"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4"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5"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6"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7"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8"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9"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70"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71"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72"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3"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4"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5"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6"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7"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8"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9"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0"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81"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82"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3"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4"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9"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90"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91"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92"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3"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4"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5"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6"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7"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8"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9"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4" name="Image 53">
            <a:extLst>
              <a:ext uri="{FF2B5EF4-FFF2-40B4-BE49-F238E27FC236}">
                <a16:creationId xmlns:a16="http://schemas.microsoft.com/office/drawing/2014/main" id="{AD8DC4AA-C0B2-4413-B1DC-3F8C9B4BE0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96443" y="6128500"/>
            <a:ext cx="1800000" cy="207468"/>
          </a:xfrm>
          <a:prstGeom prst="rect">
            <a:avLst/>
          </a:prstGeom>
        </p:spPr>
      </p:pic>
    </p:spTree>
    <p:extLst>
      <p:ext uri="{BB962C8B-B14F-4D97-AF65-F5344CB8AC3E}">
        <p14:creationId xmlns:p14="http://schemas.microsoft.com/office/powerpoint/2010/main" val="1800899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Fin A">
    <p:bg bwMode="gray">
      <p:bgPr>
        <a:solidFill>
          <a:srgbClr val="182C53"/>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11" name="Imag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7" name="Imag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0" name="Imag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2000" y="2958686"/>
            <a:ext cx="1980000" cy="731869"/>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689796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Fin B">
    <p:bg bwMode="gray">
      <p:bgPr>
        <a:solidFill>
          <a:schemeClr val="accent4"/>
        </a:solidFill>
        <a:effectLst/>
      </p:bgPr>
    </p:bg>
    <p:spTree>
      <p:nvGrpSpPr>
        <p:cNvPr id="1" name=""/>
        <p:cNvGrpSpPr/>
        <p:nvPr/>
      </p:nvGrpSpPr>
      <p:grpSpPr>
        <a:xfrm>
          <a:off x="0" y="0"/>
          <a:ext cx="0" cy="0"/>
          <a:chOff x="0" y="0"/>
          <a:chExt cx="0" cy="0"/>
        </a:xfrm>
      </p:grpSpPr>
      <p:sp>
        <p:nvSpPr>
          <p:cNvPr id="12"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3" y="5547712"/>
            <a:ext cx="1925347" cy="792000"/>
          </a:xfrm>
          <a:prstGeom prst="rect">
            <a:avLst/>
          </a:prstGeom>
        </p:spPr>
      </p:pic>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2000" y="2958686"/>
            <a:ext cx="1980000" cy="731869"/>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2058974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Fin C">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180000" cy="180000"/>
          </a:xfrm>
        </p:spPr>
        <p:txBody>
          <a:bodyPr/>
          <a:lstStyle/>
          <a:p>
            <a:r>
              <a:rPr lang="fr-FR"/>
              <a:t>Date</a:t>
            </a:r>
            <a:endParaRPr lang="fr-FR" dirty="0"/>
          </a:p>
        </p:txBody>
      </p:sp>
      <p:sp>
        <p:nvSpPr>
          <p:cNvPr id="8" name="Espace réservé du pied de page 7"/>
          <p:cNvSpPr>
            <a:spLocks noGrp="1"/>
          </p:cNvSpPr>
          <p:nvPr>
            <p:ph type="ftr" sz="quarter" idx="11"/>
          </p:nvPr>
        </p:nvSpPr>
        <p:spPr bwMode="gray">
          <a:xfrm>
            <a:off x="0" y="6678000"/>
            <a:ext cx="180000" cy="180000"/>
          </a:xfrm>
        </p:spPr>
        <p:txBody>
          <a:bodyPr/>
          <a:lstStyle>
            <a:lvl1pPr>
              <a:defRPr sz="100">
                <a:solidFill>
                  <a:schemeClr val="tx1">
                    <a:alpha val="0"/>
                  </a:schemeClr>
                </a:solidFill>
              </a:defRPr>
            </a:lvl1pPr>
          </a:lstStyle>
          <a:p>
            <a:pPr algn="l"/>
            <a:r>
              <a:rPr lang="fr-FR"/>
              <a:t>EcoTitanium / UKAD : les avantages de la filière Titane</a:t>
            </a:r>
            <a:endParaRPr lang="fr-FR" dirty="0"/>
          </a:p>
        </p:txBody>
      </p:sp>
      <p:sp>
        <p:nvSpPr>
          <p:cNvPr id="9" name="Espace réservé du numéro de diapositive 8"/>
          <p:cNvSpPr>
            <a:spLocks noGrp="1"/>
          </p:cNvSpPr>
          <p:nvPr>
            <p:ph type="sldNum" sz="quarter" idx="12"/>
          </p:nvPr>
        </p:nvSpPr>
        <p:spPr bwMode="gray">
          <a:xfrm>
            <a:off x="0" y="6678000"/>
            <a:ext cx="180000" cy="180000"/>
          </a:xfrm>
        </p:spPr>
        <p:txBody>
          <a:bodyPr/>
          <a:lstStyle>
            <a:lvl1pPr>
              <a:defRPr sz="100">
                <a:solidFill>
                  <a:schemeClr val="tx1">
                    <a:alpha val="0"/>
                  </a:schemeClr>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2" y="0"/>
            <a:ext cx="3599998" cy="1764944"/>
          </a:xfrm>
          <a:prstGeom prst="rect">
            <a:avLst/>
          </a:prstGeom>
        </p:spPr>
      </p:pic>
      <p:sp>
        <p:nvSpPr>
          <p:cNvPr id="11"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6690712" y="5547712"/>
            <a:ext cx="1925346" cy="792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52" name="Image 51">
            <a:extLst>
              <a:ext uri="{FF2B5EF4-FFF2-40B4-BE49-F238E27FC236}">
                <a16:creationId xmlns:a16="http://schemas.microsoft.com/office/drawing/2014/main" id="{4EA6D5CB-F8DB-4836-8186-9AC238DF42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71999" y="2756118"/>
            <a:ext cx="1800000" cy="207468"/>
          </a:xfrm>
          <a:prstGeom prst="rect">
            <a:avLst/>
          </a:prstGeom>
        </p:spPr>
      </p:pic>
    </p:spTree>
    <p:extLst>
      <p:ext uri="{BB962C8B-B14F-4D97-AF65-F5344CB8AC3E}">
        <p14:creationId xmlns:p14="http://schemas.microsoft.com/office/powerpoint/2010/main" val="407957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2.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1.emf"/><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image" Target="../media/image2.png"/><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image" Target="../media/image1.emf"/><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oleObject" Target="../embeddings/oleObject5.bin"/><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image" Target="../media/image3.png"/><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tags" Target="../tags/tag6.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theme" Target="../theme/theme3.xml"/><Relationship Id="rId35" Type="http://schemas.openxmlformats.org/officeDocument/2006/relationships/image" Target="../media/image1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image" Target="../media/image2.pn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image" Target="../media/image1.emf"/><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oleObject" Target="../embeddings/oleObject6.bin"/><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image" Target="../media/image3.png"/><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tags" Target="../tags/tag7.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theme" Target="../theme/theme4.xml"/><Relationship Id="rId35" Type="http://schemas.openxmlformats.org/officeDocument/2006/relationships/image" Target="../media/image25.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image" Target="../media/image2.png"/><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image" Target="../media/image1.emf"/><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oleObject" Target="../embeddings/oleObject7.bin"/><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tags" Target="../tags/tag8.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5.xml"/><Relationship Id="rId35"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7" Type="http://schemas.openxmlformats.org/officeDocument/2006/relationships/image" Target="../media/image1.emf"/><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oleObject" Target="../embeddings/oleObject8.bin"/><Relationship Id="rId5" Type="http://schemas.openxmlformats.org/officeDocument/2006/relationships/tags" Target="../tags/tag10.xml"/><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16D30993-BAC2-430C-B6FE-F6F174AD5134}"/>
              </a:ext>
            </a:extLst>
          </p:cNvPr>
          <p:cNvGraphicFramePr>
            <a:graphicFrameLocks noChangeAspect="1"/>
          </p:cNvGraphicFramePr>
          <p:nvPr>
            <p:custDataLst>
              <p:tags r:id="rId33"/>
            </p:custDataLst>
            <p:extLst>
              <p:ext uri="{D42A27DB-BD31-4B8C-83A1-F6EECF244321}">
                <p14:modId xmlns:p14="http://schemas.microsoft.com/office/powerpoint/2010/main" val="425200302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Diapositive think-cell" r:id="rId34" imgW="395" imgH="396" progId="TCLayout.ActiveDocument.1">
                  <p:embed/>
                </p:oleObj>
              </mc:Choice>
              <mc:Fallback>
                <p:oleObj name="Diapositive think-cell" r:id="rId34" imgW="395" imgH="396" progId="TCLayout.ActiveDocument.1">
                  <p:embed/>
                  <p:pic>
                    <p:nvPicPr>
                      <p:cNvPr id="7" name="Objet 6" hidden="1">
                        <a:extLst>
                          <a:ext uri="{FF2B5EF4-FFF2-40B4-BE49-F238E27FC236}">
                            <a16:creationId xmlns:a16="http://schemas.microsoft.com/office/drawing/2014/main" id="{16D30993-BAC2-430C-B6FE-F6F174AD5134}"/>
                          </a:ext>
                        </a:extLst>
                      </p:cNvPr>
                      <p:cNvPicPr/>
                      <p:nvPr/>
                    </p:nvPicPr>
                    <p:blipFill>
                      <a:blip r:embed="rId35"/>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198"/>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spTree>
  </p:cSld>
  <p:clrMap bg1="lt1" tx1="dk1" bg2="lt2" tx2="dk2" accent1="accent1" accent2="accent2" accent3="accent3" accent4="accent4" accent5="accent5" accent6="accent6" hlink="hlink" folHlink="folHlink"/>
  <p:sldLayoutIdLst>
    <p:sldLayoutId id="2147483837" r:id="rId1"/>
    <p:sldLayoutId id="2147483838" r:id="rId2"/>
    <p:sldLayoutId id="2147483808" r:id="rId3"/>
    <p:sldLayoutId id="2147484004" r:id="rId4"/>
    <p:sldLayoutId id="2147483852" r:id="rId5"/>
    <p:sldLayoutId id="2147483825" r:id="rId6"/>
    <p:sldLayoutId id="2147483840" r:id="rId7"/>
    <p:sldLayoutId id="2147483841" r:id="rId8"/>
    <p:sldLayoutId id="2147483839" r:id="rId9"/>
    <p:sldLayoutId id="2147483853" r:id="rId10"/>
    <p:sldLayoutId id="2147483849" r:id="rId11"/>
    <p:sldLayoutId id="2147483820" r:id="rId12"/>
    <p:sldLayoutId id="2147483850" r:id="rId13"/>
    <p:sldLayoutId id="2147483851" r:id="rId14"/>
    <p:sldLayoutId id="2147483826" r:id="rId15"/>
    <p:sldLayoutId id="2147483827" r:id="rId16"/>
    <p:sldLayoutId id="2147483828" r:id="rId17"/>
    <p:sldLayoutId id="2147483829" r:id="rId18"/>
    <p:sldLayoutId id="2147483830" r:id="rId19"/>
    <p:sldLayoutId id="2147483833" r:id="rId20"/>
    <p:sldLayoutId id="2147483842" r:id="rId21"/>
    <p:sldLayoutId id="2147483832" r:id="rId22"/>
    <p:sldLayoutId id="2147483843" r:id="rId23"/>
    <p:sldLayoutId id="2147483822" r:id="rId24"/>
    <p:sldLayoutId id="2147483821" r:id="rId25"/>
    <p:sldLayoutId id="2147483854" r:id="rId26"/>
    <p:sldLayoutId id="2147483846" r:id="rId27"/>
    <p:sldLayoutId id="2147483824" r:id="rId28"/>
    <p:sldLayoutId id="2147483823" r:id="rId29"/>
    <p:sldLayoutId id="2147483855" r:id="rId30"/>
    <p:sldLayoutId id="2147484000" r:id="rId31"/>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7"/>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6D99FC00-C1EE-4AC6-8B3F-BCA76E8E5276}"/>
              </a:ext>
            </a:extLst>
          </p:cNvPr>
          <p:cNvGraphicFramePr>
            <a:graphicFrameLocks noChangeAspect="1"/>
          </p:cNvGraphicFramePr>
          <p:nvPr userDrawn="1">
            <p:custDataLst>
              <p:tags r:id="rId13"/>
            </p:custDataLst>
            <p:extLst>
              <p:ext uri="{D42A27DB-BD31-4B8C-83A1-F6EECF244321}">
                <p14:modId xmlns:p14="http://schemas.microsoft.com/office/powerpoint/2010/main" val="2895533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4" imgW="395" imgH="396" progId="TCLayout.ActiveDocument.1">
                  <p:embed/>
                </p:oleObj>
              </mc:Choice>
              <mc:Fallback>
                <p:oleObj name="Diapositive think-cell" r:id="rId14" imgW="395" imgH="396" progId="TCLayout.ActiveDocument.1">
                  <p:embed/>
                  <p:pic>
                    <p:nvPicPr>
                      <p:cNvPr id="15" name="Objet 14" hidden="1">
                        <a:extLst>
                          <a:ext uri="{FF2B5EF4-FFF2-40B4-BE49-F238E27FC236}">
                            <a16:creationId xmlns:a16="http://schemas.microsoft.com/office/drawing/2014/main" id="{6D99FC00-C1EE-4AC6-8B3F-BCA76E8E527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3" name="Espace réservé du numéro de diapositive 4">
            <a:extLst>
              <a:ext uri="{FF2B5EF4-FFF2-40B4-BE49-F238E27FC236}">
                <a16:creationId xmlns:a16="http://schemas.microsoft.com/office/drawing/2014/main" id="{3E9EFD1D-E4B4-4F4E-81A9-197FE89280BF}"/>
              </a:ext>
            </a:extLst>
          </p:cNvPr>
          <p:cNvSpPr txBox="1">
            <a:spLocks/>
          </p:cNvSpPr>
          <p:nvPr userDrawn="1"/>
        </p:nvSpPr>
        <p:spPr bwMode="gray">
          <a:xfrm>
            <a:off x="539551" y="6192682"/>
            <a:ext cx="288033" cy="440684"/>
          </a:xfrm>
          <a:prstGeom prst="rect">
            <a:avLst/>
          </a:prstGeom>
        </p:spPr>
        <p:txBody>
          <a:bodyPr vert="horz" lIns="0" tIns="0" rIns="0" bIns="0" rtlCol="0" anchor="b" anchorCtr="0">
            <a:noAutofit/>
          </a:bodyPr>
          <a:lstStyle>
            <a:defPPr>
              <a:defRPr lang="fr-FR"/>
            </a:defPPr>
            <a:lvl1pPr marL="0" algn="l" defTabSz="914400" rtl="0" eaLnBrk="1" latinLnBrk="0" hangingPunct="1">
              <a:lnSpc>
                <a:spcPct val="90000"/>
              </a:lnSpc>
              <a:defRPr sz="900" b="1"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fr-FR" smtClean="0">
                <a:solidFill>
                  <a:srgbClr val="FA6414"/>
                </a:solidFill>
                <a:latin typeface="Arial"/>
              </a:rPr>
              <a:pPr/>
              <a:t>‹N°›</a:t>
            </a:fld>
            <a:endParaRPr lang="fr-FR" dirty="0">
              <a:solidFill>
                <a:srgbClr val="FA6414"/>
              </a:solidFill>
              <a:latin typeface="Arial"/>
            </a:endParaRPr>
          </a:p>
        </p:txBody>
      </p:sp>
    </p:spTree>
    <p:extLst>
      <p:ext uri="{BB962C8B-B14F-4D97-AF65-F5344CB8AC3E}">
        <p14:creationId xmlns:p14="http://schemas.microsoft.com/office/powerpoint/2010/main" val="4096169508"/>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AB43610B-BBC3-4BAD-B80C-4D1A06CAF7C5}"/>
              </a:ext>
            </a:extLst>
          </p:cNvPr>
          <p:cNvGraphicFramePr>
            <a:graphicFrameLocks noChangeAspect="1"/>
          </p:cNvGraphicFramePr>
          <p:nvPr>
            <p:custDataLst>
              <p:tags r:id="rId31"/>
            </p:custDataLst>
            <p:extLst>
              <p:ext uri="{D42A27DB-BD31-4B8C-83A1-F6EECF244321}">
                <p14:modId xmlns:p14="http://schemas.microsoft.com/office/powerpoint/2010/main" val="70414664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Diapositive think-cell" r:id="rId32" imgW="395" imgH="396" progId="TCLayout.ActiveDocument.1">
                  <p:embed/>
                </p:oleObj>
              </mc:Choice>
              <mc:Fallback>
                <p:oleObj name="Diapositive think-cell" r:id="rId32" imgW="395" imgH="396" progId="TCLayout.ActiveDocument.1">
                  <p:embed/>
                  <p:pic>
                    <p:nvPicPr>
                      <p:cNvPr id="8" name="Objet 7" hidden="1">
                        <a:extLst>
                          <a:ext uri="{FF2B5EF4-FFF2-40B4-BE49-F238E27FC236}">
                            <a16:creationId xmlns:a16="http://schemas.microsoft.com/office/drawing/2014/main" id="{AB43610B-BBC3-4BAD-B80C-4D1A06CAF7C5}"/>
                          </a:ext>
                        </a:extLst>
                      </p:cNvPr>
                      <p:cNvPicPr/>
                      <p:nvPr/>
                    </p:nvPicPr>
                    <p:blipFill>
                      <a:blip r:embed="rId33"/>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pic>
        <p:nvPicPr>
          <p:cNvPr id="7" name="Image 6"/>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6615466" y="6239979"/>
            <a:ext cx="828000" cy="375784"/>
          </a:xfrm>
          <a:prstGeom prst="rect">
            <a:avLst/>
          </a:prstGeom>
        </p:spPr>
      </p:pic>
      <p:grpSp>
        <p:nvGrpSpPr>
          <p:cNvPr id="53" name="Groupe 52"/>
          <p:cNvGrpSpPr/>
          <p:nvPr/>
        </p:nvGrpSpPr>
        <p:grpSpPr>
          <a:xfrm>
            <a:off x="9363035" y="28361"/>
            <a:ext cx="4214248" cy="1943442"/>
            <a:chOff x="9363034" y="28361"/>
            <a:chExt cx="4214248" cy="1943442"/>
          </a:xfrm>
        </p:grpSpPr>
        <p:sp>
          <p:nvSpPr>
            <p:cNvPr id="54"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5"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6"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7"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8"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9"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0"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1"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2"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3"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4"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5"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6"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7"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8"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9"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0"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1"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2"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3"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4"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5"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6"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7"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8"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9"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0"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8"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9"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0"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1"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2"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3"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4"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5"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3050052532"/>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0E2700FA-226F-4EA7-B1C0-E3A242ABC76E}"/>
              </a:ext>
            </a:extLst>
          </p:cNvPr>
          <p:cNvGraphicFramePr>
            <a:graphicFrameLocks noChangeAspect="1"/>
          </p:cNvGraphicFramePr>
          <p:nvPr>
            <p:custDataLst>
              <p:tags r:id="rId31"/>
            </p:custDataLst>
            <p:extLst>
              <p:ext uri="{D42A27DB-BD31-4B8C-83A1-F6EECF244321}">
                <p14:modId xmlns:p14="http://schemas.microsoft.com/office/powerpoint/2010/main" val="50488775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Diapositive think-cell" r:id="rId32" imgW="395" imgH="396" progId="TCLayout.ActiveDocument.1">
                  <p:embed/>
                </p:oleObj>
              </mc:Choice>
              <mc:Fallback>
                <p:oleObj name="Diapositive think-cell" r:id="rId32" imgW="395" imgH="396" progId="TCLayout.ActiveDocument.1">
                  <p:embed/>
                  <p:pic>
                    <p:nvPicPr>
                      <p:cNvPr id="7" name="Objet 6" hidden="1">
                        <a:extLst>
                          <a:ext uri="{FF2B5EF4-FFF2-40B4-BE49-F238E27FC236}">
                            <a16:creationId xmlns:a16="http://schemas.microsoft.com/office/drawing/2014/main" id="{0E2700FA-226F-4EA7-B1C0-E3A242ABC76E}"/>
                          </a:ext>
                        </a:extLst>
                      </p:cNvPr>
                      <p:cNvPicPr/>
                      <p:nvPr/>
                    </p:nvPicPr>
                    <p:blipFill>
                      <a:blip r:embed="rId33"/>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grpSp>
        <p:nvGrpSpPr>
          <p:cNvPr id="54" name="Groupe 53"/>
          <p:cNvGrpSpPr/>
          <p:nvPr/>
        </p:nvGrpSpPr>
        <p:grpSpPr>
          <a:xfrm>
            <a:off x="9363035" y="28361"/>
            <a:ext cx="4214248" cy="1943442"/>
            <a:chOff x="9363034" y="28361"/>
            <a:chExt cx="4214248" cy="1943442"/>
          </a:xfrm>
        </p:grpSpPr>
        <p:sp>
          <p:nvSpPr>
            <p:cNvPr id="55"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6"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7"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8"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9"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60"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61"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2"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3"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4"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5"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6"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7"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8"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9"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70"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71"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2"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3"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4"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5"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6"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7"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8"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9"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80"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81"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7"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8"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9"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90"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91"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2"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3"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4"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5"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6"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pic>
        <p:nvPicPr>
          <p:cNvPr id="9" name="Image 8">
            <a:extLst>
              <a:ext uri="{FF2B5EF4-FFF2-40B4-BE49-F238E27FC236}">
                <a16:creationId xmlns:a16="http://schemas.microsoft.com/office/drawing/2014/main" id="{6BA34A67-5C2D-4CF4-909F-F58DAC196757}"/>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6413932" y="6466505"/>
            <a:ext cx="1240742" cy="143010"/>
          </a:xfrm>
          <a:prstGeom prst="rect">
            <a:avLst/>
          </a:prstGeom>
        </p:spPr>
      </p:pic>
    </p:spTree>
    <p:extLst>
      <p:ext uri="{BB962C8B-B14F-4D97-AF65-F5344CB8AC3E}">
        <p14:creationId xmlns:p14="http://schemas.microsoft.com/office/powerpoint/2010/main" val="3261836987"/>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6"/>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E8169567-916F-417F-9681-755FAB673A4E}"/>
              </a:ext>
            </a:extLst>
          </p:cNvPr>
          <p:cNvGraphicFramePr>
            <a:graphicFrameLocks noChangeAspect="1"/>
          </p:cNvGraphicFramePr>
          <p:nvPr>
            <p:custDataLst>
              <p:tags r:id="rId31"/>
            </p:custDataLst>
            <p:extLst>
              <p:ext uri="{D42A27DB-BD31-4B8C-83A1-F6EECF244321}">
                <p14:modId xmlns:p14="http://schemas.microsoft.com/office/powerpoint/2010/main" val="89168257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Diapositive think-cell" r:id="rId32" imgW="395" imgH="396" progId="TCLayout.ActiveDocument.1">
                  <p:embed/>
                </p:oleObj>
              </mc:Choice>
              <mc:Fallback>
                <p:oleObj name="Diapositive think-cell" r:id="rId32" imgW="395" imgH="396" progId="TCLayout.ActiveDocument.1">
                  <p:embed/>
                  <p:pic>
                    <p:nvPicPr>
                      <p:cNvPr id="7" name="Objet 6" hidden="1">
                        <a:extLst>
                          <a:ext uri="{FF2B5EF4-FFF2-40B4-BE49-F238E27FC236}">
                            <a16:creationId xmlns:a16="http://schemas.microsoft.com/office/drawing/2014/main" id="{E8169567-916F-417F-9681-755FAB673A4E}"/>
                          </a:ext>
                        </a:extLst>
                      </p:cNvPr>
                      <p:cNvPicPr/>
                      <p:nvPr/>
                    </p:nvPicPr>
                    <p:blipFill>
                      <a:blip r:embed="rId33"/>
                      <a:stretch>
                        <a:fillRect/>
                      </a:stretch>
                    </p:blipFill>
                    <p:spPr>
                      <a:xfrm>
                        <a:off x="1589" y="1588"/>
                        <a:ext cx="1588" cy="1588"/>
                      </a:xfrm>
                      <a:prstGeom prst="rect">
                        <a:avLst/>
                      </a:prstGeom>
                    </p:spPr>
                  </p:pic>
                </p:oleObj>
              </mc:Fallback>
            </mc:AlternateContent>
          </a:graphicData>
        </a:graphic>
      </p:graphicFrame>
      <p:sp>
        <p:nvSpPr>
          <p:cNvPr id="15" name="Freeform 9"/>
          <p:cNvSpPr>
            <a:spLocks/>
          </p:cNvSpPr>
          <p:nvPr/>
        </p:nvSpPr>
        <p:spPr bwMode="gray">
          <a:xfrm>
            <a:off x="0" y="3124200"/>
            <a:ext cx="9144000" cy="3733800"/>
          </a:xfrm>
          <a:custGeom>
            <a:avLst/>
            <a:gdLst>
              <a:gd name="T0" fmla="*/ 5621 w 9599"/>
              <a:gd name="T1" fmla="*/ 1228 h 3910"/>
              <a:gd name="T2" fmla="*/ 5621 w 9599"/>
              <a:gd name="T3" fmla="*/ 1228 h 3910"/>
              <a:gd name="T4" fmla="*/ 3958 w 9599"/>
              <a:gd name="T5" fmla="*/ 2123 h 3910"/>
              <a:gd name="T6" fmla="*/ 0 w 9599"/>
              <a:gd name="T7" fmla="*/ 3623 h 3910"/>
              <a:gd name="T8" fmla="*/ 0 w 9599"/>
              <a:gd name="T9" fmla="*/ 3672 h 3910"/>
              <a:gd name="T10" fmla="*/ 0 w 9599"/>
              <a:gd name="T11" fmla="*/ 3910 h 3910"/>
              <a:gd name="T12" fmla="*/ 4017 w 9599"/>
              <a:gd name="T13" fmla="*/ 3910 h 3910"/>
              <a:gd name="T14" fmla="*/ 4091 w 9599"/>
              <a:gd name="T15" fmla="*/ 3910 h 3910"/>
              <a:gd name="T16" fmla="*/ 9599 w 9599"/>
              <a:gd name="T17" fmla="*/ 843 h 3910"/>
              <a:gd name="T18" fmla="*/ 9599 w 9599"/>
              <a:gd name="T19" fmla="*/ 793 h 3910"/>
              <a:gd name="T20" fmla="*/ 9599 w 9599"/>
              <a:gd name="T21" fmla="*/ 47 h 3910"/>
              <a:gd name="T22" fmla="*/ 9599 w 9599"/>
              <a:gd name="T23" fmla="*/ 0 h 3910"/>
              <a:gd name="T24" fmla="*/ 5621 w 9599"/>
              <a:gd name="T25" fmla="*/ 1228 h 3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9" h="3910">
                <a:moveTo>
                  <a:pt x="5621" y="1228"/>
                </a:moveTo>
                <a:lnTo>
                  <a:pt x="5621" y="1228"/>
                </a:lnTo>
                <a:cubicBezTo>
                  <a:pt x="4987" y="1564"/>
                  <a:pt x="4441" y="1861"/>
                  <a:pt x="3958" y="2123"/>
                </a:cubicBezTo>
                <a:cubicBezTo>
                  <a:pt x="1994" y="3192"/>
                  <a:pt x="1141" y="3656"/>
                  <a:pt x="0" y="3623"/>
                </a:cubicBezTo>
                <a:lnTo>
                  <a:pt x="0" y="3672"/>
                </a:lnTo>
                <a:lnTo>
                  <a:pt x="0" y="3910"/>
                </a:lnTo>
                <a:lnTo>
                  <a:pt x="4017" y="3910"/>
                </a:lnTo>
                <a:lnTo>
                  <a:pt x="4091" y="3910"/>
                </a:lnTo>
                <a:cubicBezTo>
                  <a:pt x="5240" y="2955"/>
                  <a:pt x="7171" y="1517"/>
                  <a:pt x="9599" y="843"/>
                </a:cubicBezTo>
                <a:lnTo>
                  <a:pt x="9599" y="793"/>
                </a:lnTo>
                <a:lnTo>
                  <a:pt x="9599" y="47"/>
                </a:lnTo>
                <a:lnTo>
                  <a:pt x="9599" y="0"/>
                </a:lnTo>
                <a:cubicBezTo>
                  <a:pt x="8258" y="127"/>
                  <a:pt x="6923" y="539"/>
                  <a:pt x="5621" y="122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800"/>
          </a:p>
        </p:txBody>
      </p:sp>
      <p:sp>
        <p:nvSpPr>
          <p:cNvPr id="2" name="Espace réservé du titre 1"/>
          <p:cNvSpPr>
            <a:spLocks noGrp="1"/>
          </p:cNvSpPr>
          <p:nvPr>
            <p:ph type="title"/>
          </p:nvPr>
        </p:nvSpPr>
        <p:spPr bwMode="gray">
          <a:xfrm>
            <a:off x="540000" y="2"/>
            <a:ext cx="8064000" cy="829737"/>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540000" y="1242000"/>
            <a:ext cx="8064000" cy="4860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0" y="6678000"/>
            <a:ext cx="180000" cy="180000"/>
          </a:xfrm>
          <a:prstGeom prst="rect">
            <a:avLst/>
          </a:prstGeom>
        </p:spPr>
        <p:txBody>
          <a:bodyPr vert="horz" lIns="0" tIns="0" rIns="0" bIns="0" rtlCol="0" anchor="ctr" anchorCtr="0">
            <a:noAutofit/>
          </a:bodyPr>
          <a:lstStyle>
            <a:lvl1pPr algn="ctr">
              <a:defRPr sz="100">
                <a:solidFill>
                  <a:schemeClr val="tx1">
                    <a:alpha val="0"/>
                  </a:schemeClr>
                </a:solidFill>
              </a:defRPr>
            </a:lvl1pPr>
          </a:lstStyle>
          <a:p>
            <a:r>
              <a:rPr lang="fr-FR"/>
              <a:t>Date</a:t>
            </a:r>
            <a:endParaRPr lang="fr-FR" dirty="0"/>
          </a:p>
        </p:txBody>
      </p:sp>
      <p:sp>
        <p:nvSpPr>
          <p:cNvPr id="5" name="Espace réservé du pied de page 4"/>
          <p:cNvSpPr>
            <a:spLocks noGrp="1"/>
          </p:cNvSpPr>
          <p:nvPr>
            <p:ph type="ftr" sz="quarter" idx="3"/>
          </p:nvPr>
        </p:nvSpPr>
        <p:spPr bwMode="gray">
          <a:xfrm>
            <a:off x="862088" y="6192682"/>
            <a:ext cx="3420000" cy="440684"/>
          </a:xfrm>
          <a:prstGeom prst="rect">
            <a:avLst/>
          </a:prstGeom>
        </p:spPr>
        <p:txBody>
          <a:bodyPr vert="horz" lIns="0" tIns="0" rIns="0" bIns="0" rtlCol="0" anchor="b" anchorCtr="0">
            <a:noAutofit/>
          </a:bodyPr>
          <a:lstStyle>
            <a:lvl1pPr algn="ctr">
              <a:lnSpc>
                <a:spcPct val="90000"/>
              </a:lnSpc>
              <a:defRPr sz="900">
                <a:solidFill>
                  <a:schemeClr val="tx2"/>
                </a:solidFill>
              </a:defRPr>
            </a:lvl1pPr>
          </a:lstStyle>
          <a:p>
            <a:pPr algn="l"/>
            <a:r>
              <a:rPr lang="fr-FR"/>
              <a:t>EcoTitanium / UKAD : les avantages de la filière Titane</a:t>
            </a:r>
            <a:endParaRPr lang="fr-FR" dirty="0"/>
          </a:p>
        </p:txBody>
      </p:sp>
      <p:sp>
        <p:nvSpPr>
          <p:cNvPr id="6" name="Espace réservé du numéro de diapositive 5"/>
          <p:cNvSpPr>
            <a:spLocks noGrp="1"/>
          </p:cNvSpPr>
          <p:nvPr>
            <p:ph type="sldNum" sz="quarter" idx="4"/>
          </p:nvPr>
        </p:nvSpPr>
        <p:spPr bwMode="gray">
          <a:xfrm>
            <a:off x="539551" y="6192682"/>
            <a:ext cx="288033" cy="440684"/>
          </a:xfrm>
          <a:prstGeom prst="rect">
            <a:avLst/>
          </a:prstGeom>
        </p:spPr>
        <p:txBody>
          <a:bodyPr vert="horz" lIns="0" tIns="0" rIns="0" bIns="0" rtlCol="0" anchor="b" anchorCtr="0">
            <a:noAutofit/>
          </a:bodyPr>
          <a:lstStyle>
            <a:lvl1pPr algn="l">
              <a:lnSpc>
                <a:spcPct val="90000"/>
              </a:lnSpc>
              <a:defRPr sz="900" b="1">
                <a:solidFill>
                  <a:schemeClr val="accent2"/>
                </a:solidFill>
              </a:defRPr>
            </a:lvl1pPr>
          </a:lstStyle>
          <a:p>
            <a:fld id="{733122C9-A0B9-462F-8757-0847AD287B63}" type="slidenum">
              <a:rPr lang="fr-FR" smtClean="0"/>
              <a:pPr/>
              <a:t>‹N°›</a:t>
            </a:fld>
            <a:endParaRPr lang="fr-FR" dirty="0"/>
          </a:p>
        </p:txBody>
      </p:sp>
      <p:pic>
        <p:nvPicPr>
          <p:cNvPr id="10" name="Image 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bwMode="gray">
          <a:xfrm>
            <a:off x="7740352" y="6201308"/>
            <a:ext cx="1006986" cy="432000"/>
          </a:xfrm>
          <a:prstGeom prst="rect">
            <a:avLst/>
          </a:prstGeom>
        </p:spPr>
      </p:pic>
      <p:grpSp>
        <p:nvGrpSpPr>
          <p:cNvPr id="52" name="Groupe 51"/>
          <p:cNvGrpSpPr/>
          <p:nvPr/>
        </p:nvGrpSpPr>
        <p:grpSpPr>
          <a:xfrm>
            <a:off x="9363035" y="28361"/>
            <a:ext cx="4214248" cy="1943442"/>
            <a:chOff x="9363034" y="28361"/>
            <a:chExt cx="4214248" cy="1943442"/>
          </a:xfrm>
        </p:grpSpPr>
        <p:sp>
          <p:nvSpPr>
            <p:cNvPr id="53" name="Rectangle 2"/>
            <p:cNvSpPr txBox="1">
              <a:spLocks noChangeArrowheads="1"/>
            </p:cNvSpPr>
            <p:nvPr/>
          </p:nvSpPr>
          <p:spPr>
            <a:xfrm>
              <a:off x="9363034" y="28361"/>
              <a:ext cx="2532791" cy="238221"/>
            </a:xfrm>
            <a:prstGeom prst="rect">
              <a:avLst/>
            </a:prstGeom>
          </p:spPr>
          <p:txBody>
            <a:bodyPr/>
            <a:lstStyle>
              <a:lvl1pPr algn="l" defTabSz="762000" rtl="0" eaLnBrk="1" fontAlgn="base" hangingPunct="1">
                <a:lnSpc>
                  <a:spcPct val="90000"/>
                </a:lnSpc>
                <a:spcBef>
                  <a:spcPct val="0"/>
                </a:spcBef>
                <a:spcAft>
                  <a:spcPct val="0"/>
                </a:spcAft>
                <a:defRPr sz="2200">
                  <a:solidFill>
                    <a:schemeClr val="tx1"/>
                  </a:solidFill>
                  <a:latin typeface="+mj-lt"/>
                  <a:ea typeface="+mj-ea"/>
                  <a:cs typeface="+mj-cs"/>
                </a:defRPr>
              </a:lvl1pPr>
              <a:lvl2pPr algn="l" defTabSz="762000" rtl="0" eaLnBrk="1" fontAlgn="base" hangingPunct="1">
                <a:lnSpc>
                  <a:spcPct val="90000"/>
                </a:lnSpc>
                <a:spcBef>
                  <a:spcPct val="0"/>
                </a:spcBef>
                <a:spcAft>
                  <a:spcPct val="0"/>
                </a:spcAft>
                <a:defRPr sz="2200">
                  <a:solidFill>
                    <a:schemeClr val="tx1"/>
                  </a:solidFill>
                  <a:latin typeface="Arial" charset="0"/>
                </a:defRPr>
              </a:lvl2pPr>
              <a:lvl3pPr algn="l" defTabSz="762000" rtl="0" eaLnBrk="1" fontAlgn="base" hangingPunct="1">
                <a:lnSpc>
                  <a:spcPct val="90000"/>
                </a:lnSpc>
                <a:spcBef>
                  <a:spcPct val="0"/>
                </a:spcBef>
                <a:spcAft>
                  <a:spcPct val="0"/>
                </a:spcAft>
                <a:defRPr sz="2200">
                  <a:solidFill>
                    <a:schemeClr val="tx1"/>
                  </a:solidFill>
                  <a:latin typeface="Arial" charset="0"/>
                </a:defRPr>
              </a:lvl3pPr>
              <a:lvl4pPr algn="l" defTabSz="762000" rtl="0" eaLnBrk="1" fontAlgn="base" hangingPunct="1">
                <a:lnSpc>
                  <a:spcPct val="90000"/>
                </a:lnSpc>
                <a:spcBef>
                  <a:spcPct val="0"/>
                </a:spcBef>
                <a:spcAft>
                  <a:spcPct val="0"/>
                </a:spcAft>
                <a:defRPr sz="2200">
                  <a:solidFill>
                    <a:schemeClr val="tx1"/>
                  </a:solidFill>
                  <a:latin typeface="Arial" charset="0"/>
                </a:defRPr>
              </a:lvl4pPr>
              <a:lvl5pPr algn="l" defTabSz="762000" rtl="0" eaLnBrk="1" fontAlgn="base" hangingPunct="1">
                <a:lnSpc>
                  <a:spcPct val="90000"/>
                </a:lnSpc>
                <a:spcBef>
                  <a:spcPct val="0"/>
                </a:spcBef>
                <a:spcAft>
                  <a:spcPct val="0"/>
                </a:spcAft>
                <a:defRPr sz="2200">
                  <a:solidFill>
                    <a:schemeClr val="tx1"/>
                  </a:solidFill>
                  <a:latin typeface="Arial" charset="0"/>
                </a:defRPr>
              </a:lvl5pPr>
              <a:lvl6pPr marL="457200" algn="l" defTabSz="762000" rtl="0" eaLnBrk="1" fontAlgn="base" hangingPunct="1">
                <a:lnSpc>
                  <a:spcPct val="90000"/>
                </a:lnSpc>
                <a:spcBef>
                  <a:spcPct val="0"/>
                </a:spcBef>
                <a:spcAft>
                  <a:spcPct val="0"/>
                </a:spcAft>
                <a:defRPr sz="2200">
                  <a:solidFill>
                    <a:schemeClr val="tx1"/>
                  </a:solidFill>
                  <a:latin typeface="Arial" charset="0"/>
                </a:defRPr>
              </a:lvl6pPr>
              <a:lvl7pPr marL="914400" algn="l" defTabSz="762000" rtl="0" eaLnBrk="1" fontAlgn="base" hangingPunct="1">
                <a:lnSpc>
                  <a:spcPct val="90000"/>
                </a:lnSpc>
                <a:spcBef>
                  <a:spcPct val="0"/>
                </a:spcBef>
                <a:spcAft>
                  <a:spcPct val="0"/>
                </a:spcAft>
                <a:defRPr sz="2200">
                  <a:solidFill>
                    <a:schemeClr val="tx1"/>
                  </a:solidFill>
                  <a:latin typeface="Arial" charset="0"/>
                </a:defRPr>
              </a:lvl7pPr>
              <a:lvl8pPr marL="1371600" algn="l" defTabSz="762000" rtl="0" eaLnBrk="1" fontAlgn="base" hangingPunct="1">
                <a:lnSpc>
                  <a:spcPct val="90000"/>
                </a:lnSpc>
                <a:spcBef>
                  <a:spcPct val="0"/>
                </a:spcBef>
                <a:spcAft>
                  <a:spcPct val="0"/>
                </a:spcAft>
                <a:defRPr sz="2200">
                  <a:solidFill>
                    <a:schemeClr val="tx1"/>
                  </a:solidFill>
                  <a:latin typeface="Arial" charset="0"/>
                </a:defRPr>
              </a:lvl8pPr>
              <a:lvl9pPr marL="1828800" algn="l" defTabSz="762000" rtl="0" eaLnBrk="1" fontAlgn="base" hangingPunct="1">
                <a:lnSpc>
                  <a:spcPct val="90000"/>
                </a:lnSpc>
                <a:spcBef>
                  <a:spcPct val="0"/>
                </a:spcBef>
                <a:spcAft>
                  <a:spcPct val="0"/>
                </a:spcAft>
                <a:defRPr sz="2200">
                  <a:solidFill>
                    <a:schemeClr val="tx1"/>
                  </a:solidFill>
                  <a:latin typeface="Arial" charset="0"/>
                </a:defRPr>
              </a:lvl9pPr>
            </a:lstStyle>
            <a:p>
              <a:pPr marL="0" marR="0" lvl="0" indent="0" algn="l" defTabSz="762000" rtl="0" eaLnBrk="1" fontAlgn="base" latinLnBrk="0" hangingPunct="1">
                <a:lnSpc>
                  <a:spcPct val="90000"/>
                </a:lnSpc>
                <a:spcBef>
                  <a:spcPct val="0"/>
                </a:spcBef>
                <a:spcAft>
                  <a:spcPct val="0"/>
                </a:spcAft>
                <a:buClrTx/>
                <a:buSzTx/>
                <a:buFontTx/>
                <a:buNone/>
                <a:tabLst/>
                <a:defRPr/>
              </a:pPr>
              <a:r>
                <a:rPr kumimoji="0" lang="en-AU" sz="1200" b="0" i="0" u="none" strike="noStrike" kern="0" cap="none" spc="0" normalizeH="0" baseline="0" noProof="0" dirty="0">
                  <a:ln>
                    <a:noFill/>
                  </a:ln>
                  <a:solidFill>
                    <a:srgbClr val="051640"/>
                  </a:solidFill>
                  <a:effectLst/>
                  <a:uLnTx/>
                  <a:uFillTx/>
                  <a:latin typeface="Arial"/>
                  <a:ea typeface="+mj-ea"/>
                  <a:cs typeface="+mj-cs"/>
                </a:rPr>
                <a:t>Colour Palette</a:t>
              </a:r>
            </a:p>
          </p:txBody>
        </p:sp>
        <p:sp>
          <p:nvSpPr>
            <p:cNvPr id="54" name="Rectangle 4"/>
            <p:cNvSpPr>
              <a:spLocks noChangeArrowheads="1"/>
            </p:cNvSpPr>
            <p:nvPr/>
          </p:nvSpPr>
          <p:spPr bwMode="auto">
            <a:xfrm>
              <a:off x="12003129" y="365618"/>
              <a:ext cx="351576" cy="351576"/>
            </a:xfrm>
            <a:prstGeom prst="rect">
              <a:avLst/>
            </a:prstGeom>
            <a:solidFill>
              <a:srgbClr val="00677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2</a:t>
              </a:r>
              <a:endParaRPr kumimoji="0" lang="en-AU" sz="800" b="0" i="0" u="none" strike="noStrike" kern="0" cap="none" spc="0" normalizeH="0" baseline="0" noProof="0" dirty="0">
                <a:ln>
                  <a:noFill/>
                </a:ln>
                <a:solidFill>
                  <a:srgbClr val="051640"/>
                </a:solidFill>
                <a:effectLst/>
                <a:uLnTx/>
                <a:uFillTx/>
              </a:endParaRPr>
            </a:p>
          </p:txBody>
        </p:sp>
        <p:sp>
          <p:nvSpPr>
            <p:cNvPr id="55" name="Rectangle 5"/>
            <p:cNvSpPr>
              <a:spLocks noChangeArrowheads="1"/>
            </p:cNvSpPr>
            <p:nvPr/>
          </p:nvSpPr>
          <p:spPr bwMode="auto">
            <a:xfrm>
              <a:off x="10618024" y="365618"/>
              <a:ext cx="351576" cy="351576"/>
            </a:xfrm>
            <a:prstGeom prst="rect">
              <a:avLst/>
            </a:prstGeom>
            <a:solidFill>
              <a:srgbClr val="1A003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9</a:t>
              </a:r>
              <a:endParaRPr kumimoji="0" lang="en-AU" sz="800" b="0" i="0" u="none" strike="noStrike" kern="0" cap="none" spc="0" normalizeH="0" baseline="0" noProof="0" dirty="0">
                <a:ln>
                  <a:noFill/>
                </a:ln>
                <a:solidFill>
                  <a:srgbClr val="051640"/>
                </a:solidFill>
                <a:effectLst/>
                <a:uLnTx/>
                <a:uFillTx/>
              </a:endParaRPr>
            </a:p>
          </p:txBody>
        </p:sp>
        <p:sp>
          <p:nvSpPr>
            <p:cNvPr id="56" name="Rectangle 6"/>
            <p:cNvSpPr>
              <a:spLocks noChangeArrowheads="1"/>
            </p:cNvSpPr>
            <p:nvPr/>
          </p:nvSpPr>
          <p:spPr bwMode="auto">
            <a:xfrm>
              <a:off x="10220066" y="365618"/>
              <a:ext cx="351576" cy="351576"/>
            </a:xfrm>
            <a:prstGeom prst="rect">
              <a:avLst/>
            </a:prstGeom>
            <a:solidFill>
              <a:srgbClr val="51579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47</a:t>
              </a:r>
              <a:endParaRPr kumimoji="0" lang="en-AU" sz="800" b="0" i="0" u="none" strike="noStrike" kern="0" cap="none" spc="0" normalizeH="0" baseline="0" noProof="0" dirty="0">
                <a:ln>
                  <a:noFill/>
                </a:ln>
                <a:solidFill>
                  <a:srgbClr val="051640"/>
                </a:solidFill>
                <a:effectLst/>
                <a:uLnTx/>
                <a:uFillTx/>
              </a:endParaRPr>
            </a:p>
          </p:txBody>
        </p:sp>
        <p:sp>
          <p:nvSpPr>
            <p:cNvPr id="57" name="Rectangle 7"/>
            <p:cNvSpPr>
              <a:spLocks noChangeArrowheads="1"/>
            </p:cNvSpPr>
            <p:nvPr/>
          </p:nvSpPr>
          <p:spPr bwMode="auto">
            <a:xfrm>
              <a:off x="11016111" y="365618"/>
              <a:ext cx="351576" cy="351576"/>
            </a:xfrm>
            <a:prstGeom prst="rect">
              <a:avLst/>
            </a:prstGeom>
            <a:solidFill>
              <a:srgbClr val="80808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8</a:t>
              </a:r>
              <a:endParaRPr kumimoji="0" lang="en-AU" sz="800" b="0" i="0" u="none" strike="noStrike" kern="0" cap="none" spc="0" normalizeH="0" baseline="0" noProof="0" dirty="0">
                <a:ln>
                  <a:noFill/>
                </a:ln>
                <a:solidFill>
                  <a:srgbClr val="051640"/>
                </a:solidFill>
                <a:effectLst/>
                <a:uLnTx/>
                <a:uFillTx/>
              </a:endParaRPr>
            </a:p>
          </p:txBody>
        </p:sp>
        <p:sp>
          <p:nvSpPr>
            <p:cNvPr id="58" name="Line 11"/>
            <p:cNvSpPr>
              <a:spLocks noChangeShapeType="1"/>
            </p:cNvSpPr>
            <p:nvPr/>
          </p:nvSpPr>
          <p:spPr bwMode="auto">
            <a:xfrm>
              <a:off x="11477651" y="302205"/>
              <a:ext cx="0" cy="1669598"/>
            </a:xfrm>
            <a:prstGeom prst="line">
              <a:avLst/>
            </a:prstGeom>
            <a:noFill/>
            <a:ln w="9525">
              <a:solidFill>
                <a:srgbClr val="05164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defRPr/>
              </a:pPr>
              <a:endParaRPr kumimoji="0" lang="en-AU" sz="900" b="0" i="0" u="none" strike="noStrike" kern="0" cap="none" spc="0" normalizeH="0" baseline="0" noProof="0" dirty="0">
                <a:ln>
                  <a:noFill/>
                </a:ln>
                <a:solidFill>
                  <a:srgbClr val="051640"/>
                </a:solidFill>
                <a:effectLst/>
                <a:uLnTx/>
                <a:uFillTx/>
              </a:endParaRPr>
            </a:p>
          </p:txBody>
        </p:sp>
        <p:sp>
          <p:nvSpPr>
            <p:cNvPr id="59" name="Rectangle 28"/>
            <p:cNvSpPr>
              <a:spLocks noChangeArrowheads="1"/>
            </p:cNvSpPr>
            <p:nvPr/>
          </p:nvSpPr>
          <p:spPr bwMode="auto">
            <a:xfrm>
              <a:off x="12003388" y="1576258"/>
              <a:ext cx="351059" cy="351060"/>
            </a:xfrm>
            <a:prstGeom prst="rect">
              <a:avLst/>
            </a:prstGeom>
            <a:solidFill>
              <a:srgbClr val="CCE1E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2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0</a:t>
              </a:r>
            </a:p>
          </p:txBody>
        </p:sp>
        <p:sp>
          <p:nvSpPr>
            <p:cNvPr id="60" name="Rectangle 31"/>
            <p:cNvSpPr>
              <a:spLocks noChangeArrowheads="1"/>
            </p:cNvSpPr>
            <p:nvPr/>
          </p:nvSpPr>
          <p:spPr bwMode="auto">
            <a:xfrm>
              <a:off x="12003388" y="1172841"/>
              <a:ext cx="351059" cy="351060"/>
            </a:xfrm>
            <a:prstGeom prst="rect">
              <a:avLst/>
            </a:prstGeom>
            <a:solidFill>
              <a:srgbClr val="7CB5C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4</a:t>
              </a:r>
            </a:p>
          </p:txBody>
        </p:sp>
        <p:sp>
          <p:nvSpPr>
            <p:cNvPr id="61" name="Rectangle 34"/>
            <p:cNvSpPr>
              <a:spLocks noChangeArrowheads="1"/>
            </p:cNvSpPr>
            <p:nvPr/>
          </p:nvSpPr>
          <p:spPr bwMode="auto">
            <a:xfrm>
              <a:off x="12003388" y="769509"/>
              <a:ext cx="351059" cy="351060"/>
            </a:xfrm>
            <a:prstGeom prst="rect">
              <a:avLst/>
            </a:prstGeom>
            <a:solidFill>
              <a:srgbClr val="4D97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69</a:t>
              </a:r>
            </a:p>
          </p:txBody>
        </p:sp>
        <p:sp>
          <p:nvSpPr>
            <p:cNvPr id="62" name="Rectangle 30"/>
            <p:cNvSpPr>
              <a:spLocks noChangeArrowheads="1"/>
            </p:cNvSpPr>
            <p:nvPr/>
          </p:nvSpPr>
          <p:spPr bwMode="auto">
            <a:xfrm>
              <a:off x="10220325" y="1576258"/>
              <a:ext cx="351059" cy="351060"/>
            </a:xfrm>
            <a:prstGeom prst="rect">
              <a:avLst/>
            </a:prstGeom>
            <a:solidFill>
              <a:srgbClr val="182C5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2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4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83</a:t>
              </a:r>
            </a:p>
          </p:txBody>
        </p:sp>
        <p:sp>
          <p:nvSpPr>
            <p:cNvPr id="63" name="Rectangle 33"/>
            <p:cNvSpPr>
              <a:spLocks noChangeArrowheads="1"/>
            </p:cNvSpPr>
            <p:nvPr/>
          </p:nvSpPr>
          <p:spPr bwMode="auto">
            <a:xfrm>
              <a:off x="10618283" y="1172841"/>
              <a:ext cx="351059" cy="351060"/>
            </a:xfrm>
            <a:prstGeom prst="rect">
              <a:avLst/>
            </a:prstGeom>
            <a:solidFill>
              <a:srgbClr val="413268"/>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6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04</a:t>
              </a:r>
            </a:p>
          </p:txBody>
        </p:sp>
        <p:sp>
          <p:nvSpPr>
            <p:cNvPr id="64" name="Rectangle 36"/>
            <p:cNvSpPr>
              <a:spLocks noChangeArrowheads="1"/>
            </p:cNvSpPr>
            <p:nvPr/>
          </p:nvSpPr>
          <p:spPr bwMode="auto">
            <a:xfrm>
              <a:off x="10618283" y="769509"/>
              <a:ext cx="351059" cy="351060"/>
            </a:xfrm>
            <a:prstGeom prst="rect">
              <a:avLst/>
            </a:prstGeom>
            <a:solidFill>
              <a:srgbClr val="D8D2E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1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27</a:t>
              </a:r>
            </a:p>
          </p:txBody>
        </p:sp>
        <p:sp>
          <p:nvSpPr>
            <p:cNvPr id="65" name="Rectangle 39"/>
            <p:cNvSpPr>
              <a:spLocks noChangeArrowheads="1"/>
            </p:cNvSpPr>
            <p:nvPr/>
          </p:nvSpPr>
          <p:spPr bwMode="auto">
            <a:xfrm>
              <a:off x="11016370" y="1576258"/>
              <a:ext cx="351059" cy="351060"/>
            </a:xfrm>
            <a:prstGeom prst="rect">
              <a:avLst/>
            </a:prstGeom>
            <a:solidFill>
              <a:srgbClr val="EAEAE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4</a:t>
              </a:r>
            </a:p>
          </p:txBody>
        </p:sp>
        <p:sp>
          <p:nvSpPr>
            <p:cNvPr id="66" name="Rectangle 41"/>
            <p:cNvSpPr>
              <a:spLocks noChangeArrowheads="1"/>
            </p:cNvSpPr>
            <p:nvPr/>
          </p:nvSpPr>
          <p:spPr bwMode="auto">
            <a:xfrm>
              <a:off x="11016370" y="1172841"/>
              <a:ext cx="351059" cy="351060"/>
            </a:xfrm>
            <a:prstGeom prst="rect">
              <a:avLst/>
            </a:pr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2</a:t>
              </a:r>
            </a:p>
          </p:txBody>
        </p:sp>
        <p:sp>
          <p:nvSpPr>
            <p:cNvPr id="67" name="Rectangle 42"/>
            <p:cNvSpPr>
              <a:spLocks noChangeArrowheads="1"/>
            </p:cNvSpPr>
            <p:nvPr/>
          </p:nvSpPr>
          <p:spPr bwMode="auto">
            <a:xfrm>
              <a:off x="11016370" y="769509"/>
              <a:ext cx="351059" cy="351060"/>
            </a:xfrm>
            <a:prstGeom prst="rect">
              <a:avLst/>
            </a:prstGeom>
            <a:solidFill>
              <a:srgbClr val="A9A9A9"/>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9</a:t>
              </a:r>
            </a:p>
          </p:txBody>
        </p:sp>
        <p:sp>
          <p:nvSpPr>
            <p:cNvPr id="68" name="Rectangle 9"/>
            <p:cNvSpPr>
              <a:spLocks noChangeArrowheads="1"/>
            </p:cNvSpPr>
            <p:nvPr/>
          </p:nvSpPr>
          <p:spPr bwMode="auto">
            <a:xfrm>
              <a:off x="9423763" y="365618"/>
              <a:ext cx="351576" cy="347855"/>
            </a:xfrm>
            <a:prstGeom prst="rect">
              <a:avLst/>
            </a:prstGeom>
            <a:solidFill>
              <a:srgbClr val="FBF315"/>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69" name="Rectangle 61"/>
            <p:cNvSpPr>
              <a:spLocks noChangeArrowheads="1"/>
            </p:cNvSpPr>
            <p:nvPr/>
          </p:nvSpPr>
          <p:spPr bwMode="auto">
            <a:xfrm>
              <a:off x="9821979" y="365618"/>
              <a:ext cx="351576" cy="351576"/>
            </a:xfrm>
            <a:prstGeom prst="rect">
              <a:avLst/>
            </a:prstGeom>
            <a:solidFill>
              <a:srgbClr val="FA641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a:t>
              </a:r>
              <a:endParaRPr kumimoji="0" lang="en-AU" sz="800" b="0" i="0" u="none" strike="noStrike" kern="0" cap="none" spc="0" normalizeH="0" baseline="0" noProof="0" dirty="0">
                <a:ln>
                  <a:noFill/>
                </a:ln>
                <a:solidFill>
                  <a:srgbClr val="051640"/>
                </a:solidFill>
                <a:effectLst/>
                <a:uLnTx/>
                <a:uFillTx/>
              </a:endParaRPr>
            </a:p>
          </p:txBody>
        </p:sp>
        <p:sp>
          <p:nvSpPr>
            <p:cNvPr id="70" name="Rectangle 3"/>
            <p:cNvSpPr>
              <a:spLocks noChangeArrowheads="1"/>
            </p:cNvSpPr>
            <p:nvPr/>
          </p:nvSpPr>
          <p:spPr bwMode="auto">
            <a:xfrm>
              <a:off x="11594309" y="365618"/>
              <a:ext cx="351576" cy="351576"/>
            </a:xfrm>
            <a:prstGeom prst="rect">
              <a:avLst/>
            </a:prstGeom>
            <a:solidFill>
              <a:srgbClr val="05164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2</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p:txBody>
        </p:sp>
        <p:sp>
          <p:nvSpPr>
            <p:cNvPr id="71" name="Rectangle 24"/>
            <p:cNvSpPr>
              <a:spLocks noChangeArrowheads="1"/>
            </p:cNvSpPr>
            <p:nvPr/>
          </p:nvSpPr>
          <p:spPr bwMode="auto">
            <a:xfrm>
              <a:off x="11594568" y="1576258"/>
              <a:ext cx="351059" cy="351060"/>
            </a:xfrm>
            <a:prstGeom prst="rect">
              <a:avLst/>
            </a:prstGeom>
            <a:solidFill>
              <a:srgbClr val="C9CCD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1</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3</a:t>
              </a:r>
            </a:p>
          </p:txBody>
        </p:sp>
        <p:sp>
          <p:nvSpPr>
            <p:cNvPr id="72" name="Rectangle 25"/>
            <p:cNvSpPr>
              <a:spLocks noChangeArrowheads="1"/>
            </p:cNvSpPr>
            <p:nvPr/>
          </p:nvSpPr>
          <p:spPr bwMode="auto">
            <a:xfrm>
              <a:off x="11594568" y="1172841"/>
              <a:ext cx="351059" cy="351060"/>
            </a:xfrm>
            <a:prstGeom prst="rect">
              <a:avLst/>
            </a:prstGeom>
            <a:solidFill>
              <a:srgbClr val="878FA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63</a:t>
              </a:r>
            </a:p>
          </p:txBody>
        </p:sp>
        <p:sp>
          <p:nvSpPr>
            <p:cNvPr id="73" name="Rectangle 27"/>
            <p:cNvSpPr>
              <a:spLocks noChangeArrowheads="1"/>
            </p:cNvSpPr>
            <p:nvPr/>
          </p:nvSpPr>
          <p:spPr bwMode="auto">
            <a:xfrm>
              <a:off x="11594568" y="769509"/>
              <a:ext cx="351059" cy="351060"/>
            </a:xfrm>
            <a:prstGeom prst="rect">
              <a:avLst/>
            </a:prstGeom>
            <a:solidFill>
              <a:srgbClr val="45587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6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27</a:t>
              </a:r>
            </a:p>
          </p:txBody>
        </p:sp>
        <p:sp>
          <p:nvSpPr>
            <p:cNvPr id="74" name="Rectangle 9"/>
            <p:cNvSpPr>
              <a:spLocks noChangeArrowheads="1"/>
            </p:cNvSpPr>
            <p:nvPr/>
          </p:nvSpPr>
          <p:spPr bwMode="auto">
            <a:xfrm>
              <a:off x="13225706" y="766756"/>
              <a:ext cx="351576" cy="351576"/>
            </a:xfrm>
            <a:prstGeom prst="rect">
              <a:avLst/>
            </a:prstGeom>
            <a:solidFill>
              <a:srgbClr val="CC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75" name="Rectangle 61"/>
            <p:cNvSpPr>
              <a:spLocks noChangeArrowheads="1"/>
            </p:cNvSpPr>
            <p:nvPr/>
          </p:nvSpPr>
          <p:spPr bwMode="auto">
            <a:xfrm>
              <a:off x="13225706" y="365618"/>
              <a:ext cx="351576" cy="351576"/>
            </a:xfrm>
            <a:prstGeom prst="rect">
              <a:avLst/>
            </a:prstGeom>
            <a:solidFill>
              <a:srgbClr val="24610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3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7</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a:t>
              </a:r>
              <a:endParaRPr kumimoji="0" lang="en-AU" sz="800" b="0" i="0" u="none" strike="noStrike" kern="0" cap="none" spc="0" normalizeH="0" baseline="0" noProof="0" dirty="0">
                <a:ln>
                  <a:noFill/>
                </a:ln>
                <a:solidFill>
                  <a:srgbClr val="051640"/>
                </a:solidFill>
                <a:effectLst/>
                <a:uLnTx/>
                <a:uFillTx/>
              </a:endParaRPr>
            </a:p>
          </p:txBody>
        </p:sp>
        <p:sp>
          <p:nvSpPr>
            <p:cNvPr id="76" name="Rectangle 29"/>
            <p:cNvSpPr>
              <a:spLocks noChangeArrowheads="1"/>
            </p:cNvSpPr>
            <p:nvPr/>
          </p:nvSpPr>
          <p:spPr bwMode="auto">
            <a:xfrm>
              <a:off x="12412208" y="1576258"/>
              <a:ext cx="351059" cy="351060"/>
            </a:xfrm>
            <a:prstGeom prst="rect">
              <a:avLst/>
            </a:prstGeom>
            <a:solidFill>
              <a:srgbClr val="DAC3DB"/>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8</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9</a:t>
              </a:r>
            </a:p>
          </p:txBody>
        </p:sp>
        <p:sp>
          <p:nvSpPr>
            <p:cNvPr id="77" name="Rectangle 32"/>
            <p:cNvSpPr>
              <a:spLocks noChangeArrowheads="1"/>
            </p:cNvSpPr>
            <p:nvPr/>
          </p:nvSpPr>
          <p:spPr bwMode="auto">
            <a:xfrm>
              <a:off x="12412208" y="1172841"/>
              <a:ext cx="351059" cy="351060"/>
            </a:xfrm>
            <a:prstGeom prst="rect">
              <a:avLst/>
            </a:prstGeom>
            <a:solidFill>
              <a:srgbClr val="BD93BF"/>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8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7</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91</a:t>
              </a:r>
            </a:p>
          </p:txBody>
        </p:sp>
        <p:sp>
          <p:nvSpPr>
            <p:cNvPr id="78" name="Rectangle 35"/>
            <p:cNvSpPr>
              <a:spLocks noChangeArrowheads="1"/>
            </p:cNvSpPr>
            <p:nvPr/>
          </p:nvSpPr>
          <p:spPr bwMode="auto">
            <a:xfrm>
              <a:off x="12412208" y="769337"/>
              <a:ext cx="351059" cy="351060"/>
            </a:xfrm>
            <a:prstGeom prst="rect">
              <a:avLst/>
            </a:prstGeom>
            <a:solidFill>
              <a:srgbClr val="925595"/>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85</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9</a:t>
              </a:r>
            </a:p>
          </p:txBody>
        </p:sp>
        <p:sp>
          <p:nvSpPr>
            <p:cNvPr id="79" name="Rectangle 9"/>
            <p:cNvSpPr>
              <a:spLocks noChangeArrowheads="1"/>
            </p:cNvSpPr>
            <p:nvPr/>
          </p:nvSpPr>
          <p:spPr bwMode="auto">
            <a:xfrm>
              <a:off x="9423763" y="770233"/>
              <a:ext cx="351576" cy="347855"/>
            </a:xfrm>
            <a:prstGeom prst="rect">
              <a:avLst/>
            </a:prstGeom>
            <a:solidFill>
              <a:srgbClr val="FFF16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8</a:t>
              </a:r>
              <a:endParaRPr kumimoji="0" lang="en-AU" sz="800" b="0" i="0" u="none" strike="noStrike" kern="0" cap="none" spc="0" normalizeH="0" baseline="0" noProof="0" dirty="0">
                <a:ln>
                  <a:noFill/>
                </a:ln>
                <a:solidFill>
                  <a:srgbClr val="051640"/>
                </a:solidFill>
                <a:effectLst/>
                <a:uLnTx/>
                <a:uFillTx/>
              </a:endParaRPr>
            </a:p>
          </p:txBody>
        </p:sp>
        <p:sp>
          <p:nvSpPr>
            <p:cNvPr id="80" name="Rectangle 9"/>
            <p:cNvSpPr>
              <a:spLocks noChangeArrowheads="1"/>
            </p:cNvSpPr>
            <p:nvPr/>
          </p:nvSpPr>
          <p:spPr bwMode="auto">
            <a:xfrm>
              <a:off x="9423763" y="1174444"/>
              <a:ext cx="351576" cy="347855"/>
            </a:xfrm>
            <a:prstGeom prst="rect">
              <a:avLst/>
            </a:prstGeom>
            <a:solidFill>
              <a:srgbClr val="FFF02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42</a:t>
              </a:r>
              <a:endParaRPr kumimoji="0" lang="en-AU" sz="800" b="0" i="0" u="none" strike="noStrike" kern="0" cap="none" spc="0" normalizeH="0" baseline="0" noProof="0" dirty="0">
                <a:ln>
                  <a:noFill/>
                </a:ln>
                <a:solidFill>
                  <a:srgbClr val="051640"/>
                </a:solidFill>
                <a:effectLst/>
                <a:uLnTx/>
                <a:uFillTx/>
              </a:endParaRPr>
            </a:p>
          </p:txBody>
        </p:sp>
        <p:sp>
          <p:nvSpPr>
            <p:cNvPr id="81" name="Rectangle 9"/>
            <p:cNvSpPr>
              <a:spLocks noChangeArrowheads="1"/>
            </p:cNvSpPr>
            <p:nvPr/>
          </p:nvSpPr>
          <p:spPr bwMode="auto">
            <a:xfrm>
              <a:off x="9423763" y="1579463"/>
              <a:ext cx="351576" cy="347855"/>
            </a:xfrm>
            <a:prstGeom prst="rect">
              <a:avLst/>
            </a:prstGeom>
            <a:solidFill>
              <a:srgbClr val="EEA3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3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0</a:t>
              </a:r>
              <a:endParaRPr kumimoji="0" lang="en-AU" sz="800" b="0" i="0" u="none" strike="noStrike" kern="0" cap="none" spc="0" normalizeH="0" baseline="0" noProof="0" dirty="0">
                <a:ln>
                  <a:noFill/>
                </a:ln>
                <a:solidFill>
                  <a:srgbClr val="051640"/>
                </a:solidFill>
                <a:effectLst/>
                <a:uLnTx/>
                <a:uFillTx/>
              </a:endParaRPr>
            </a:p>
          </p:txBody>
        </p:sp>
        <p:sp>
          <p:nvSpPr>
            <p:cNvPr id="82" name="Rectangle 9"/>
            <p:cNvSpPr>
              <a:spLocks noChangeArrowheads="1"/>
            </p:cNvSpPr>
            <p:nvPr/>
          </p:nvSpPr>
          <p:spPr bwMode="auto">
            <a:xfrm>
              <a:off x="9821979" y="772714"/>
              <a:ext cx="351576" cy="347855"/>
            </a:xfrm>
            <a:prstGeom prst="rect">
              <a:avLst/>
            </a:prstGeom>
            <a:solidFill>
              <a:srgbClr val="F6965D"/>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93</a:t>
              </a:r>
              <a:endParaRPr kumimoji="0" lang="en-AU" sz="800" b="0" i="0" u="none" strike="noStrike" kern="0" cap="none" spc="0" normalizeH="0" baseline="0" noProof="0" dirty="0">
                <a:ln>
                  <a:noFill/>
                </a:ln>
                <a:solidFill>
                  <a:srgbClr val="051640"/>
                </a:solidFill>
                <a:effectLst/>
                <a:uLnTx/>
                <a:uFillTx/>
              </a:endParaRPr>
            </a:p>
          </p:txBody>
        </p:sp>
        <p:sp>
          <p:nvSpPr>
            <p:cNvPr id="83" name="Rectangle 9"/>
            <p:cNvSpPr>
              <a:spLocks noChangeArrowheads="1"/>
            </p:cNvSpPr>
            <p:nvPr/>
          </p:nvSpPr>
          <p:spPr bwMode="auto">
            <a:xfrm>
              <a:off x="9821979" y="1174444"/>
              <a:ext cx="351576" cy="347855"/>
            </a:xfrm>
            <a:prstGeom prst="rect">
              <a:avLst/>
            </a:prstGeom>
            <a:solidFill>
              <a:srgbClr val="F27B3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5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1</a:t>
              </a:r>
              <a:endParaRPr kumimoji="0" lang="en-AU" sz="800" b="0" i="0" u="none" strike="noStrike" kern="0" cap="none" spc="0" normalizeH="0" baseline="0" noProof="0" dirty="0">
                <a:ln>
                  <a:noFill/>
                </a:ln>
                <a:solidFill>
                  <a:srgbClr val="051640"/>
                </a:solidFill>
                <a:effectLst/>
                <a:uLnTx/>
                <a:uFillTx/>
              </a:endParaRPr>
            </a:p>
          </p:txBody>
        </p:sp>
        <p:sp>
          <p:nvSpPr>
            <p:cNvPr id="84" name="Rectangle 9"/>
            <p:cNvSpPr>
              <a:spLocks noChangeArrowheads="1"/>
            </p:cNvSpPr>
            <p:nvPr/>
          </p:nvSpPr>
          <p:spPr bwMode="auto">
            <a:xfrm>
              <a:off x="9821979" y="1579463"/>
              <a:ext cx="351576" cy="347855"/>
            </a:xfrm>
            <a:prstGeom prst="rect">
              <a:avLst/>
            </a:prstGeom>
            <a:solidFill>
              <a:srgbClr val="C8401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0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24</a:t>
              </a:r>
              <a:endParaRPr kumimoji="0" lang="en-AU" sz="800" b="0" i="0" u="none" strike="noStrike" kern="0" cap="none" spc="0" normalizeH="0" baseline="0" noProof="0" dirty="0">
                <a:ln>
                  <a:noFill/>
                </a:ln>
                <a:solidFill>
                  <a:srgbClr val="051640"/>
                </a:solidFill>
                <a:effectLst/>
                <a:uLnTx/>
                <a:uFillTx/>
              </a:endParaRPr>
            </a:p>
          </p:txBody>
        </p:sp>
        <p:sp>
          <p:nvSpPr>
            <p:cNvPr id="85" name="Rectangle 9"/>
            <p:cNvSpPr>
              <a:spLocks noChangeArrowheads="1"/>
            </p:cNvSpPr>
            <p:nvPr/>
          </p:nvSpPr>
          <p:spPr bwMode="auto">
            <a:xfrm>
              <a:off x="10220066" y="771645"/>
              <a:ext cx="351576" cy="347855"/>
            </a:xfrm>
            <a:prstGeom prst="rect">
              <a:avLst/>
            </a:prstGeom>
            <a:solidFill>
              <a:srgbClr val="717DA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13</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2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68</a:t>
              </a:r>
              <a:endParaRPr kumimoji="0" lang="en-AU" sz="800" b="0" i="0" u="none" strike="noStrike" kern="0" cap="none" spc="0" normalizeH="0" baseline="0" noProof="0" dirty="0">
                <a:ln>
                  <a:noFill/>
                </a:ln>
                <a:solidFill>
                  <a:srgbClr val="051640"/>
                </a:solidFill>
                <a:effectLst/>
                <a:uLnTx/>
                <a:uFillTx/>
              </a:endParaRPr>
            </a:p>
          </p:txBody>
        </p:sp>
        <p:sp>
          <p:nvSpPr>
            <p:cNvPr id="86" name="Rectangle 9"/>
            <p:cNvSpPr>
              <a:spLocks noChangeArrowheads="1"/>
            </p:cNvSpPr>
            <p:nvPr/>
          </p:nvSpPr>
          <p:spPr bwMode="auto">
            <a:xfrm>
              <a:off x="10220066" y="1174444"/>
              <a:ext cx="351576" cy="347855"/>
            </a:xfrm>
            <a:prstGeom prst="rect">
              <a:avLst/>
            </a:prstGeom>
            <a:solidFill>
              <a:srgbClr val="506598"/>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0</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1</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52</a:t>
              </a:r>
              <a:endParaRPr kumimoji="0" lang="en-AU" sz="800" b="0" i="0" u="none" strike="noStrike" kern="0" cap="none" spc="0" normalizeH="0" baseline="0" noProof="0" dirty="0">
                <a:ln>
                  <a:noFill/>
                </a:ln>
                <a:solidFill>
                  <a:srgbClr val="051640"/>
                </a:solidFill>
                <a:effectLst/>
                <a:uLnTx/>
                <a:uFillTx/>
              </a:endParaRPr>
            </a:p>
          </p:txBody>
        </p:sp>
        <p:sp>
          <p:nvSpPr>
            <p:cNvPr id="87" name="Rectangle 33"/>
            <p:cNvSpPr>
              <a:spLocks noChangeArrowheads="1"/>
            </p:cNvSpPr>
            <p:nvPr/>
          </p:nvSpPr>
          <p:spPr bwMode="auto">
            <a:xfrm>
              <a:off x="10618283" y="1576258"/>
              <a:ext cx="351059" cy="351060"/>
            </a:xfrm>
            <a:prstGeom prst="rect">
              <a:avLst/>
            </a:prstGeom>
            <a:solidFill>
              <a:srgbClr val="210D4A"/>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3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1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chemeClr val="bg1"/>
                  </a:solidFill>
                  <a:effectLst/>
                  <a:uLnTx/>
                  <a:uFillTx/>
                </a:rPr>
                <a:t>74</a:t>
              </a:r>
            </a:p>
          </p:txBody>
        </p:sp>
        <p:sp>
          <p:nvSpPr>
            <p:cNvPr id="88" name="Rectangle 35"/>
            <p:cNvSpPr>
              <a:spLocks noChangeArrowheads="1"/>
            </p:cNvSpPr>
            <p:nvPr/>
          </p:nvSpPr>
          <p:spPr bwMode="auto">
            <a:xfrm>
              <a:off x="12412208" y="365618"/>
              <a:ext cx="351059" cy="351060"/>
            </a:xfrm>
            <a:prstGeom prst="rect">
              <a:avLst/>
            </a:prstGeom>
            <a:solidFill>
              <a:srgbClr val="671462"/>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3</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2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98</a:t>
              </a:r>
            </a:p>
          </p:txBody>
        </p:sp>
        <p:sp>
          <p:nvSpPr>
            <p:cNvPr id="89" name="Rectangle 29"/>
            <p:cNvSpPr>
              <a:spLocks noChangeArrowheads="1"/>
            </p:cNvSpPr>
            <p:nvPr/>
          </p:nvSpPr>
          <p:spPr bwMode="auto">
            <a:xfrm>
              <a:off x="12821028" y="1576258"/>
              <a:ext cx="351059" cy="351060"/>
            </a:xfrm>
            <a:prstGeom prst="rect">
              <a:avLst/>
            </a:prstGeom>
            <a:solidFill>
              <a:srgbClr val="CCD4E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1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36</a:t>
              </a:r>
            </a:p>
          </p:txBody>
        </p:sp>
        <p:sp>
          <p:nvSpPr>
            <p:cNvPr id="90" name="Rectangle 32"/>
            <p:cNvSpPr>
              <a:spLocks noChangeArrowheads="1"/>
            </p:cNvSpPr>
            <p:nvPr/>
          </p:nvSpPr>
          <p:spPr bwMode="auto">
            <a:xfrm>
              <a:off x="12821028" y="1172841"/>
              <a:ext cx="351059" cy="351060"/>
            </a:xfrm>
            <a:prstGeom prst="rect">
              <a:avLst/>
            </a:prstGeom>
            <a:solidFill>
              <a:srgbClr val="8295D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3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149</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051640"/>
                  </a:solidFill>
                  <a:effectLst/>
                  <a:uLnTx/>
                  <a:uFillTx/>
                </a:rPr>
                <a:t>208</a:t>
              </a:r>
            </a:p>
          </p:txBody>
        </p:sp>
        <p:sp>
          <p:nvSpPr>
            <p:cNvPr id="91" name="Rectangle 35"/>
            <p:cNvSpPr>
              <a:spLocks noChangeArrowheads="1"/>
            </p:cNvSpPr>
            <p:nvPr/>
          </p:nvSpPr>
          <p:spPr bwMode="auto">
            <a:xfrm>
              <a:off x="12821028" y="769337"/>
              <a:ext cx="351059" cy="351060"/>
            </a:xfrm>
            <a:prstGeom prst="rect">
              <a:avLst/>
            </a:prstGeom>
            <a:solidFill>
              <a:srgbClr val="4C66B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76</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02</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88</a:t>
              </a:r>
            </a:p>
          </p:txBody>
        </p:sp>
        <p:sp>
          <p:nvSpPr>
            <p:cNvPr id="92" name="Rectangle 35"/>
            <p:cNvSpPr>
              <a:spLocks noChangeArrowheads="1"/>
            </p:cNvSpPr>
            <p:nvPr/>
          </p:nvSpPr>
          <p:spPr bwMode="auto">
            <a:xfrm>
              <a:off x="12821028" y="365618"/>
              <a:ext cx="351059" cy="351060"/>
            </a:xfrm>
            <a:prstGeom prst="rect">
              <a:avLst/>
            </a:prstGeom>
            <a:solidFill>
              <a:srgbClr val="0E329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90000" rIns="0" anchor="ctr" anchorCtr="1"/>
            <a:lstStyle/>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4</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50</a:t>
              </a:r>
            </a:p>
            <a:p>
              <a:pPr marL="0" marR="0" lvl="0" indent="0" algn="ctr" defTabSz="762000" eaLnBrk="0" fontAlgn="base" latinLnBrk="0" hangingPunct="0">
                <a:lnSpc>
                  <a:spcPct val="90000"/>
                </a:lnSpc>
                <a:spcBef>
                  <a:spcPct val="0"/>
                </a:spcBef>
                <a:spcAft>
                  <a:spcPct val="0"/>
                </a:spcAft>
                <a:buClr>
                  <a:srgbClr val="FFFFFF"/>
                </a:buClr>
                <a:buSzTx/>
                <a:buFont typeface="Wingdings" pitchFamily="2" charset="2"/>
                <a:buNone/>
                <a:tabLst>
                  <a:tab pos="539750" algn="l"/>
                </a:tabLst>
                <a:defRPr/>
              </a:pPr>
              <a:r>
                <a:rPr kumimoji="0" lang="en-AU" sz="800" b="0" i="0" u="none" strike="noStrike" kern="0" cap="none" spc="0" normalizeH="0" baseline="0" noProof="0" dirty="0">
                  <a:ln>
                    <a:noFill/>
                  </a:ln>
                  <a:solidFill>
                    <a:srgbClr val="FFFFFF"/>
                  </a:solidFill>
                  <a:effectLst/>
                  <a:uLnTx/>
                  <a:uFillTx/>
                </a:rPr>
                <a:t>156</a:t>
              </a:r>
            </a:p>
          </p:txBody>
        </p:sp>
        <p:sp>
          <p:nvSpPr>
            <p:cNvPr id="93" name="Rectangle 9"/>
            <p:cNvSpPr>
              <a:spLocks noChangeArrowheads="1"/>
            </p:cNvSpPr>
            <p:nvPr/>
          </p:nvSpPr>
          <p:spPr bwMode="auto">
            <a:xfrm>
              <a:off x="13225706" y="1576258"/>
              <a:ext cx="351576" cy="351576"/>
            </a:xfrm>
            <a:prstGeom prst="rect">
              <a:avLst/>
            </a:prstGeom>
            <a:solidFill>
              <a:srgbClr val="37424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55</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6</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74</a:t>
              </a:r>
              <a:endParaRPr kumimoji="0" lang="en-AU" sz="800" b="0" i="0" u="none" strike="noStrike" kern="0" cap="none" spc="0" normalizeH="0" baseline="0" noProof="0" dirty="0">
                <a:ln>
                  <a:noFill/>
                </a:ln>
                <a:solidFill>
                  <a:srgbClr val="051640"/>
                </a:solidFill>
                <a:effectLst/>
                <a:uLnTx/>
                <a:uFillTx/>
              </a:endParaRPr>
            </a:p>
          </p:txBody>
        </p:sp>
        <p:sp>
          <p:nvSpPr>
            <p:cNvPr id="94" name="Rectangle 61"/>
            <p:cNvSpPr>
              <a:spLocks noChangeArrowheads="1"/>
            </p:cNvSpPr>
            <p:nvPr/>
          </p:nvSpPr>
          <p:spPr bwMode="auto">
            <a:xfrm>
              <a:off x="13225706" y="1159635"/>
              <a:ext cx="351576" cy="351576"/>
            </a:xfrm>
            <a:prstGeom prst="rect">
              <a:avLst/>
            </a:prstGeom>
            <a:solidFill>
              <a:srgbClr val="44546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68</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84</a:t>
              </a:r>
            </a:p>
            <a:p>
              <a:pPr marL="0" marR="0" lvl="0" indent="0" algn="ctr" defTabSz="914400" eaLnBrk="1" fontAlgn="base" latinLnBrk="0" hangingPunct="1">
                <a:lnSpc>
                  <a:spcPct val="100000"/>
                </a:lnSpc>
                <a:spcBef>
                  <a:spcPct val="0"/>
                </a:spcBef>
                <a:spcAft>
                  <a:spcPct val="0"/>
                </a:spcAft>
                <a:buClr>
                  <a:srgbClr val="00677A"/>
                </a:buClr>
                <a:buSzTx/>
                <a:buFontTx/>
                <a:buNone/>
                <a:tabLst>
                  <a:tab pos="627063" algn="l"/>
                </a:tabLst>
                <a:defRPr/>
              </a:pPr>
              <a:r>
                <a:rPr kumimoji="0" lang="en-AU" sz="800" b="0" i="0" u="none" strike="noStrike" kern="0" cap="none" spc="0" normalizeH="0" baseline="0" noProof="0" dirty="0">
                  <a:ln>
                    <a:noFill/>
                  </a:ln>
                  <a:solidFill>
                    <a:srgbClr val="FFFFFF"/>
                  </a:solidFill>
                  <a:effectLst/>
                  <a:uLnTx/>
                  <a:uFillTx/>
                </a:rPr>
                <a:t>106</a:t>
              </a:r>
              <a:endParaRPr kumimoji="0" lang="en-AU" sz="800" b="0" i="0" u="none" strike="noStrike" kern="0" cap="none" spc="0" normalizeH="0" baseline="0" noProof="0" dirty="0">
                <a:ln>
                  <a:noFill/>
                </a:ln>
                <a:solidFill>
                  <a:srgbClr val="051640"/>
                </a:solidFill>
                <a:effectLst/>
                <a:uLnTx/>
                <a:uFillTx/>
              </a:endParaRPr>
            </a:p>
          </p:txBody>
        </p:sp>
      </p:grpSp>
    </p:spTree>
    <p:extLst>
      <p:ext uri="{BB962C8B-B14F-4D97-AF65-F5344CB8AC3E}">
        <p14:creationId xmlns:p14="http://schemas.microsoft.com/office/powerpoint/2010/main" val="2844036514"/>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Lst>
  <p:hf hdr="0"/>
  <p:txStyles>
    <p:titleStyle>
      <a:lvl1pPr algn="l" defTabSz="914400" rtl="0" eaLnBrk="1" latinLnBrk="0" hangingPunct="1">
        <a:lnSpc>
          <a:spcPct val="95000"/>
        </a:lnSpc>
        <a:spcBef>
          <a:spcPct val="0"/>
        </a:spcBef>
        <a:buNone/>
        <a:defRPr sz="2200" b="1" kern="1200">
          <a:solidFill>
            <a:schemeClr val="tx2"/>
          </a:solidFill>
          <a:latin typeface="+mj-lt"/>
          <a:ea typeface="+mj-ea"/>
          <a:cs typeface="+mj-cs"/>
        </a:defRPr>
      </a:lvl1pPr>
    </p:titleStyle>
    <p:bodyStyle>
      <a:lvl1pPr marL="3175" indent="0" algn="l" defTabSz="914400" rtl="0" eaLnBrk="1" latinLnBrk="0" hangingPunct="1">
        <a:lnSpc>
          <a:spcPct val="100000"/>
        </a:lnSpc>
        <a:spcBef>
          <a:spcPts val="0"/>
        </a:spcBef>
        <a:spcAft>
          <a:spcPts val="800"/>
        </a:spcAft>
        <a:buFont typeface="Arial" pitchFamily="34" charset="0"/>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buFont typeface="Wingdings" pitchFamily="2" charset="2"/>
        <a:buNone/>
        <a:defRPr sz="1200" b="0" kern="1200">
          <a:solidFill>
            <a:schemeClr val="tx2"/>
          </a:solidFill>
          <a:latin typeface="+mn-lt"/>
          <a:ea typeface="+mn-ea"/>
          <a:cs typeface="+mn-cs"/>
        </a:defRPr>
      </a:lvl2pPr>
      <a:lvl3pPr marL="270000" indent="-270000" algn="l" defTabSz="914400" rtl="0" eaLnBrk="1" latinLnBrk="0" hangingPunct="1">
        <a:lnSpc>
          <a:spcPct val="100000"/>
        </a:lnSpc>
        <a:spcBef>
          <a:spcPts val="400"/>
        </a:spcBef>
        <a:buSzPct val="100000"/>
        <a:buFontTx/>
        <a:buBlip>
          <a:blip r:embed="rId35"/>
        </a:buBlip>
        <a:defRPr sz="1400" b="1" kern="1200" baseline="0">
          <a:solidFill>
            <a:schemeClr val="tx2"/>
          </a:solidFill>
          <a:latin typeface="+mn-lt"/>
          <a:ea typeface="+mn-ea"/>
          <a:cs typeface="+mn-cs"/>
        </a:defRPr>
      </a:lvl3pPr>
      <a:lvl4pPr marL="270000" indent="0" algn="l" defTabSz="914400" rtl="0" eaLnBrk="1" latinLnBrk="0" hangingPunct="1">
        <a:lnSpc>
          <a:spcPct val="100000"/>
        </a:lnSpc>
        <a:spcBef>
          <a:spcPts val="0"/>
        </a:spcBef>
        <a:spcAft>
          <a:spcPts val="0"/>
        </a:spcAft>
        <a:buSzPct val="100000"/>
        <a:buFont typeface="Arial" pitchFamily="34" charset="0"/>
        <a:buNone/>
        <a:defRPr sz="1400" kern="1200">
          <a:solidFill>
            <a:schemeClr val="tx2"/>
          </a:solidFill>
          <a:latin typeface="+mn-lt"/>
          <a:ea typeface="+mn-ea"/>
          <a:cs typeface="+mn-cs"/>
        </a:defRPr>
      </a:lvl4pPr>
      <a:lvl5pPr marL="719138" indent="-269875" algn="l" defTabSz="914400" rtl="0" eaLnBrk="1" latinLnBrk="0" hangingPunct="1">
        <a:lnSpc>
          <a:spcPct val="90000"/>
        </a:lnSpc>
        <a:spcBef>
          <a:spcPts val="0"/>
        </a:spcBef>
        <a:spcAft>
          <a:spcPts val="400"/>
        </a:spcAft>
        <a:buClr>
          <a:schemeClr val="accent2"/>
        </a:buClr>
        <a:buSzPct val="100000"/>
        <a:buFont typeface="Arial" pitchFamily="34" charset="0"/>
        <a:buChar char="&gt;"/>
        <a:defRPr sz="1200" kern="1200">
          <a:solidFill>
            <a:schemeClr val="tx2"/>
          </a:solidFill>
          <a:latin typeface="+mn-lt"/>
          <a:ea typeface="+mn-ea"/>
          <a:cs typeface="+mn-cs"/>
        </a:defRPr>
      </a:lvl5pPr>
      <a:lvl6pPr marL="1081088" indent="-179388" algn="l" defTabSz="914400" rtl="0" eaLnBrk="1" latinLnBrk="0" hangingPunct="1">
        <a:lnSpc>
          <a:spcPct val="90000"/>
        </a:lnSpc>
        <a:spcBef>
          <a:spcPts val="0"/>
        </a:spcBef>
        <a:spcAft>
          <a:spcPts val="400"/>
        </a:spcAft>
        <a:buClr>
          <a:schemeClr val="accent2"/>
        </a:buClr>
        <a:buFont typeface="Arial" pitchFamily="34" charset="0"/>
        <a:buChar char="•"/>
        <a:defRPr sz="1000"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2AC7249B-B332-4307-A527-835617DEDFE8}"/>
              </a:ext>
            </a:extLst>
          </p:cNvPr>
          <p:cNvGraphicFramePr>
            <a:graphicFrameLocks noChangeAspect="1"/>
          </p:cNvGraphicFramePr>
          <p:nvPr>
            <p:custDataLst>
              <p:tags r:id="rId4"/>
            </p:custDataLst>
            <p:extLst>
              <p:ext uri="{D42A27DB-BD31-4B8C-83A1-F6EECF244321}">
                <p14:modId xmlns:p14="http://schemas.microsoft.com/office/powerpoint/2010/main" val="330306125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395" imgH="396" progId="TCLayout.ActiveDocument.1">
                  <p:embed/>
                </p:oleObj>
              </mc:Choice>
              <mc:Fallback>
                <p:oleObj name="Diapositive think-cell" r:id="rId6" imgW="395" imgH="396" progId="TCLayout.ActiveDocument.1">
                  <p:embed/>
                  <p:pic>
                    <p:nvPicPr>
                      <p:cNvPr id="8" name="Objet 7" hidden="1">
                        <a:extLst>
                          <a:ext uri="{FF2B5EF4-FFF2-40B4-BE49-F238E27FC236}">
                            <a16:creationId xmlns:a16="http://schemas.microsoft.com/office/drawing/2014/main" id="{2AC7249B-B332-4307-A527-835617DEDFE8}"/>
                          </a:ext>
                        </a:extLst>
                      </p:cNvPr>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909DC04-8BE6-456A-92D4-895A2249A3E5}"/>
              </a:ext>
            </a:extLst>
          </p:cNvPr>
          <p:cNvSpPr/>
          <p:nvPr>
            <p:custDataLst>
              <p:tags r:id="rId5"/>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fr-FR" sz="4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4040922002"/>
      </p:ext>
    </p:extLst>
  </p:cSld>
  <p:clrMap bg1="lt1" tx1="dk1" bg2="lt2" tx2="dk2" accent1="accent1" accent2="accent2" accent3="accent3" accent4="accent4" accent5="accent5" accent6="accent6" hlink="hlink" folHlink="folHlink"/>
  <p:sldLayoutIdLst>
    <p:sldLayoutId id="2147484002" r:id="rId1"/>
    <p:sldLayoutId id="2147484003" r:id="rId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47.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2.emf"/><Relationship Id="rId5" Type="http://schemas.openxmlformats.org/officeDocument/2006/relationships/oleObject" Target="../embeddings/oleObject20.bin"/><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50.pn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49.png"/><Relationship Id="rId2" Type="http://schemas.openxmlformats.org/officeDocument/2006/relationships/tags" Target="../tags/tag30.xml"/><Relationship Id="rId16" Type="http://schemas.openxmlformats.org/officeDocument/2006/relationships/image" Target="../media/image53.svg"/><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image" Target="../media/image48.png"/><Relationship Id="rId5" Type="http://schemas.openxmlformats.org/officeDocument/2006/relationships/tags" Target="../tags/tag33.xml"/><Relationship Id="rId15" Type="http://schemas.openxmlformats.org/officeDocument/2006/relationships/image" Target="../media/image52.png"/><Relationship Id="rId10" Type="http://schemas.openxmlformats.org/officeDocument/2006/relationships/image" Target="../media/image39.emf"/><Relationship Id="rId4" Type="http://schemas.openxmlformats.org/officeDocument/2006/relationships/tags" Target="../tags/tag32.xml"/><Relationship Id="rId9" Type="http://schemas.openxmlformats.org/officeDocument/2006/relationships/oleObject" Target="../embeddings/oleObject21.bin"/><Relationship Id="rId14" Type="http://schemas.openxmlformats.org/officeDocument/2006/relationships/image" Target="../media/image51.jpeg"/></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xml"/><Relationship Id="rId7" Type="http://schemas.openxmlformats.org/officeDocument/2006/relationships/oleObject" Target="../embeddings/oleObject22.bin"/><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Layout" Target="../slideLayouts/slideLayout37.xml"/><Relationship Id="rId11" Type="http://schemas.openxmlformats.org/officeDocument/2006/relationships/image" Target="../media/image11.png"/><Relationship Id="rId5" Type="http://schemas.openxmlformats.org/officeDocument/2006/relationships/tags" Target="../tags/tag40.xml"/><Relationship Id="rId10" Type="http://schemas.microsoft.com/office/2007/relationships/hdphoto" Target="../media/hdphoto2.wdp"/><Relationship Id="rId4" Type="http://schemas.openxmlformats.org/officeDocument/2006/relationships/tags" Target="../tags/tag39.xml"/><Relationship Id="rId9" Type="http://schemas.openxmlformats.org/officeDocument/2006/relationships/image" Target="../media/image54.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0.xml"/><Relationship Id="rId1" Type="http://schemas.openxmlformats.org/officeDocument/2006/relationships/tags" Target="../tags/tag41.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5.xml"/><Relationship Id="rId1" Type="http://schemas.openxmlformats.org/officeDocument/2006/relationships/tags" Target="../tags/tag42.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43.xml"/><Relationship Id="rId6" Type="http://schemas.openxmlformats.org/officeDocument/2006/relationships/image" Target="../media/image9.png"/><Relationship Id="rId5" Type="http://schemas.openxmlformats.org/officeDocument/2006/relationships/image" Target="../media/image32.emf"/><Relationship Id="rId4" Type="http://schemas.openxmlformats.org/officeDocument/2006/relationships/oleObject" Target="../embeddings/oleObject2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55.png"/><Relationship Id="rId5" Type="http://schemas.openxmlformats.org/officeDocument/2006/relationships/image" Target="../media/image39.emf"/><Relationship Id="rId4" Type="http://schemas.openxmlformats.org/officeDocument/2006/relationships/oleObject" Target="../embeddings/oleObject26.bin"/></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xml"/><Relationship Id="rId7" Type="http://schemas.openxmlformats.org/officeDocument/2006/relationships/oleObject" Target="../embeddings/oleObject27.bin"/><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slideLayout" Target="../slideLayouts/slideLayout37.xml"/><Relationship Id="rId11" Type="http://schemas.openxmlformats.org/officeDocument/2006/relationships/image" Target="../media/image11.png"/><Relationship Id="rId5" Type="http://schemas.openxmlformats.org/officeDocument/2006/relationships/tags" Target="../tags/tag50.xml"/><Relationship Id="rId10" Type="http://schemas.microsoft.com/office/2007/relationships/hdphoto" Target="../media/hdphoto3.wdp"/><Relationship Id="rId4" Type="http://schemas.openxmlformats.org/officeDocument/2006/relationships/tags" Target="../tags/tag49.xml"/><Relationship Id="rId9" Type="http://schemas.openxmlformats.org/officeDocument/2006/relationships/image" Target="../media/image56.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5.xml"/><Relationship Id="rId1" Type="http://schemas.openxmlformats.org/officeDocument/2006/relationships/tags" Target="../tags/tag1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emf"/></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13.bin"/><Relationship Id="rId7" Type="http://schemas.openxmlformats.org/officeDocument/2006/relationships/image" Target="../media/image36.png"/><Relationship Id="rId2" Type="http://schemas.openxmlformats.org/officeDocument/2006/relationships/slideLayout" Target="../slideLayouts/slideLayout15.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35.png"/><Relationship Id="rId4" Type="http://schemas.openxmlformats.org/officeDocument/2006/relationships/image" Target="../media/image3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11.png"/><Relationship Id="rId2" Type="http://schemas.openxmlformats.org/officeDocument/2006/relationships/slideLayout" Target="../slideLayouts/slideLayout15.xml"/><Relationship Id="rId1" Type="http://schemas.openxmlformats.org/officeDocument/2006/relationships/tags" Target="../tags/tag16.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2.jpeg"/><Relationship Id="rId2" Type="http://schemas.openxmlformats.org/officeDocument/2006/relationships/slideLayout" Target="../slideLayouts/slideLayout15.xml"/><Relationship Id="rId1" Type="http://schemas.openxmlformats.org/officeDocument/2006/relationships/tags" Target="../tags/tag17.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emf"/></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16.bin"/><Relationship Id="rId5" Type="http://schemas.openxmlformats.org/officeDocument/2006/relationships/slideLayout" Target="../slideLayouts/slideLayout15.xml"/><Relationship Id="rId4" Type="http://schemas.openxmlformats.org/officeDocument/2006/relationships/tags" Target="../tags/tag21.xml"/><Relationship Id="rId9" Type="http://schemas.openxmlformats.org/officeDocument/2006/relationships/image" Target="../media/image43.jpe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0.xml"/><Relationship Id="rId1" Type="http://schemas.openxmlformats.org/officeDocument/2006/relationships/tags" Target="../tags/tag22.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44.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2.emf"/><Relationship Id="rId5" Type="http://schemas.openxmlformats.org/officeDocument/2006/relationships/oleObject" Target="../embeddings/oleObject18.bin"/><Relationship Id="rId4" Type="http://schemas.openxmlformats.org/officeDocument/2006/relationships/notesSlide" Target="../notesSlides/notesSlide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4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FF4D04B9-3383-426C-88BB-3AA4CAF284D3}"/>
              </a:ext>
            </a:extLst>
          </p:cNvPr>
          <p:cNvGraphicFramePr>
            <a:graphicFrameLocks noChangeAspect="1"/>
          </p:cNvGraphicFramePr>
          <p:nvPr>
            <p:custDataLst>
              <p:tags r:id="rId1"/>
            </p:custDataLst>
            <p:extLst>
              <p:ext uri="{D42A27DB-BD31-4B8C-83A1-F6EECF244321}">
                <p14:modId xmlns:p14="http://schemas.microsoft.com/office/powerpoint/2010/main" val="2815702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7" name="Objet 6" hidden="1">
                        <a:extLst>
                          <a:ext uri="{FF2B5EF4-FFF2-40B4-BE49-F238E27FC236}">
                            <a16:creationId xmlns:a16="http://schemas.microsoft.com/office/drawing/2014/main" id="{FF4D04B9-3383-426C-88BB-3AA4CAF284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ous-titre 1">
            <a:extLst>
              <a:ext uri="{FF2B5EF4-FFF2-40B4-BE49-F238E27FC236}">
                <a16:creationId xmlns:a16="http://schemas.microsoft.com/office/drawing/2014/main" id="{7EB8D67F-E6DD-4502-8DEA-95DEB7F3CA36}"/>
              </a:ext>
            </a:extLst>
          </p:cNvPr>
          <p:cNvSpPr>
            <a:spLocks noGrp="1"/>
          </p:cNvSpPr>
          <p:nvPr>
            <p:ph type="subTitle" idx="1"/>
          </p:nvPr>
        </p:nvSpPr>
        <p:spPr/>
        <p:txBody>
          <a:bodyPr/>
          <a:lstStyle/>
          <a:p>
            <a:endParaRPr lang="fr-FR"/>
          </a:p>
        </p:txBody>
      </p:sp>
      <p:sp>
        <p:nvSpPr>
          <p:cNvPr id="3" name="Espace réservé de la date 2">
            <a:extLst>
              <a:ext uri="{FF2B5EF4-FFF2-40B4-BE49-F238E27FC236}">
                <a16:creationId xmlns:a16="http://schemas.microsoft.com/office/drawing/2014/main" id="{1B12631C-AC13-419C-B388-E8647D2D3BBF}"/>
              </a:ext>
            </a:extLst>
          </p:cNvPr>
          <p:cNvSpPr>
            <a:spLocks noGrp="1"/>
          </p:cNvSpPr>
          <p:nvPr>
            <p:ph type="dt" sz="half" idx="10"/>
          </p:nvPr>
        </p:nvSpPr>
        <p:spPr/>
        <p:txBody>
          <a:bodyPr/>
          <a:lstStyle/>
          <a:p>
            <a:r>
              <a:rPr lang="fr-FR"/>
              <a:t>Date</a:t>
            </a:r>
            <a:endParaRPr lang="fr-FR" dirty="0"/>
          </a:p>
        </p:txBody>
      </p:sp>
      <p:sp>
        <p:nvSpPr>
          <p:cNvPr id="4" name="Espace réservé du pied de page 3">
            <a:extLst>
              <a:ext uri="{FF2B5EF4-FFF2-40B4-BE49-F238E27FC236}">
                <a16:creationId xmlns:a16="http://schemas.microsoft.com/office/drawing/2014/main" id="{69AE99A8-1E1D-41D3-8404-29605431B53F}"/>
              </a:ext>
            </a:extLst>
          </p:cNvPr>
          <p:cNvSpPr>
            <a:spLocks noGrp="1"/>
          </p:cNvSpPr>
          <p:nvPr>
            <p:ph type="ftr" sz="quarter" idx="11"/>
          </p:nvPr>
        </p:nvSpPr>
        <p:spPr/>
        <p:txBody>
          <a:bodyPr/>
          <a:lstStyle/>
          <a:p>
            <a:pPr algn="l"/>
            <a:r>
              <a:rPr lang="fr-FR"/>
              <a:t>EcoTitanium / UKAD : les avantages de la filière Titane</a:t>
            </a:r>
            <a:endParaRPr lang="fr-FR" dirty="0"/>
          </a:p>
        </p:txBody>
      </p:sp>
      <p:sp>
        <p:nvSpPr>
          <p:cNvPr id="5" name="Espace réservé du numéro de diapositive 4">
            <a:extLst>
              <a:ext uri="{FF2B5EF4-FFF2-40B4-BE49-F238E27FC236}">
                <a16:creationId xmlns:a16="http://schemas.microsoft.com/office/drawing/2014/main" id="{6962D0BA-22E5-4772-A6C4-E3D9DBE938FA}"/>
              </a:ext>
            </a:extLst>
          </p:cNvPr>
          <p:cNvSpPr>
            <a:spLocks noGrp="1"/>
          </p:cNvSpPr>
          <p:nvPr>
            <p:ph type="sldNum" sz="quarter" idx="12"/>
          </p:nvPr>
        </p:nvSpPr>
        <p:spPr/>
        <p:txBody>
          <a:bodyPr/>
          <a:lstStyle/>
          <a:p>
            <a:fld id="{733122C9-A0B9-462F-8757-0847AD287B63}" type="slidenum">
              <a:rPr lang="fr-FR" smtClean="0"/>
              <a:pPr/>
              <a:t>1</a:t>
            </a:fld>
            <a:endParaRPr lang="fr-FR" dirty="0"/>
          </a:p>
        </p:txBody>
      </p:sp>
      <p:sp>
        <p:nvSpPr>
          <p:cNvPr id="6" name="Titre 5">
            <a:extLst>
              <a:ext uri="{FF2B5EF4-FFF2-40B4-BE49-F238E27FC236}">
                <a16:creationId xmlns:a16="http://schemas.microsoft.com/office/drawing/2014/main" id="{A8F2CCB0-E77C-4A3B-BF24-1519EF86394A}"/>
              </a:ext>
            </a:extLst>
          </p:cNvPr>
          <p:cNvSpPr>
            <a:spLocks noGrp="1"/>
          </p:cNvSpPr>
          <p:nvPr>
            <p:ph type="title"/>
          </p:nvPr>
        </p:nvSpPr>
        <p:spPr/>
        <p:txBody>
          <a:bodyPr vert="horz" anchor="ctr"/>
          <a:lstStyle/>
          <a:p>
            <a:r>
              <a:rPr lang="fr-FR" dirty="0"/>
              <a:t>EcoTitanium / UKAD : les avantages de la filière Titane</a:t>
            </a:r>
          </a:p>
        </p:txBody>
      </p:sp>
    </p:spTree>
    <p:extLst>
      <p:ext uri="{BB962C8B-B14F-4D97-AF65-F5344CB8AC3E}">
        <p14:creationId xmlns:p14="http://schemas.microsoft.com/office/powerpoint/2010/main" val="38682800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A333BEEA-AA2F-4C92-9929-5FF716FE9C06}"/>
              </a:ext>
            </a:extLst>
          </p:cNvPr>
          <p:cNvGraphicFramePr>
            <a:graphicFrameLocks noChangeAspect="1"/>
          </p:cNvGraphicFramePr>
          <p:nvPr>
            <p:custDataLst>
              <p:tags r:id="rId1"/>
            </p:custDataLst>
            <p:extLst>
              <p:ext uri="{D42A27DB-BD31-4B8C-83A1-F6EECF244321}">
                <p14:modId xmlns:p14="http://schemas.microsoft.com/office/powerpoint/2010/main" val="2796563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15" name="Objet 14" hidden="1">
                        <a:extLst>
                          <a:ext uri="{FF2B5EF4-FFF2-40B4-BE49-F238E27FC236}">
                            <a16:creationId xmlns:a16="http://schemas.microsoft.com/office/drawing/2014/main" id="{A333BEEA-AA2F-4C92-9929-5FF716FE9C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Image 7">
            <a:extLst>
              <a:ext uri="{FF2B5EF4-FFF2-40B4-BE49-F238E27FC236}">
                <a16:creationId xmlns:a16="http://schemas.microsoft.com/office/drawing/2014/main" id="{F06C627E-B3FC-4AB1-A888-6703F71C2C3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839909" y="1070265"/>
            <a:ext cx="4175591" cy="2308651"/>
          </a:xfrm>
          <a:prstGeom prst="rect">
            <a:avLst/>
          </a:prstGeom>
        </p:spPr>
      </p:pic>
      <p:sp>
        <p:nvSpPr>
          <p:cNvPr id="2" name="Titre 1">
            <a:extLst>
              <a:ext uri="{FF2B5EF4-FFF2-40B4-BE49-F238E27FC236}">
                <a16:creationId xmlns:a16="http://schemas.microsoft.com/office/drawing/2014/main" id="{6A58DF40-F2AA-4224-BFE3-047B2F90759F}"/>
              </a:ext>
            </a:extLst>
          </p:cNvPr>
          <p:cNvSpPr>
            <a:spLocks noGrp="1"/>
          </p:cNvSpPr>
          <p:nvPr>
            <p:ph type="title"/>
          </p:nvPr>
        </p:nvSpPr>
        <p:spPr/>
        <p:txBody>
          <a:bodyPr vert="horz"/>
          <a:lstStyle/>
          <a:p>
            <a:r>
              <a:rPr lang="fr-FR" dirty="0"/>
              <a:t>Quelques réponses…</a:t>
            </a:r>
          </a:p>
        </p:txBody>
      </p:sp>
      <p:sp>
        <p:nvSpPr>
          <p:cNvPr id="5" name="Espace réservé de la date 4">
            <a:extLst>
              <a:ext uri="{FF2B5EF4-FFF2-40B4-BE49-F238E27FC236}">
                <a16:creationId xmlns:a16="http://schemas.microsoft.com/office/drawing/2014/main" id="{2BDE264D-B8C6-4456-9EA0-46B24F1877B9}"/>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46E8C167-927B-487B-96F0-5A6687D0F6D7}"/>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D0ECEF8D-C744-45DC-AB27-93F8EC8897AE}"/>
              </a:ext>
            </a:extLst>
          </p:cNvPr>
          <p:cNvSpPr>
            <a:spLocks noGrp="1"/>
          </p:cNvSpPr>
          <p:nvPr>
            <p:ph type="sldNum" sz="quarter" idx="16"/>
          </p:nvPr>
        </p:nvSpPr>
        <p:spPr/>
        <p:txBody>
          <a:bodyPr/>
          <a:lstStyle/>
          <a:p>
            <a:fld id="{733122C9-A0B9-462F-8757-0847AD287B63}" type="slidenum">
              <a:rPr lang="fr-FR" smtClean="0"/>
              <a:pPr/>
              <a:t>10</a:t>
            </a:fld>
            <a:endParaRPr lang="fr-FR" dirty="0"/>
          </a:p>
        </p:txBody>
      </p:sp>
      <p:sp>
        <p:nvSpPr>
          <p:cNvPr id="22" name="ZoneTexte 21">
            <a:extLst>
              <a:ext uri="{FF2B5EF4-FFF2-40B4-BE49-F238E27FC236}">
                <a16:creationId xmlns:a16="http://schemas.microsoft.com/office/drawing/2014/main" id="{372BA8F8-5677-4643-B800-811CC944DAC1}"/>
              </a:ext>
            </a:extLst>
          </p:cNvPr>
          <p:cNvSpPr txBox="1"/>
          <p:nvPr/>
        </p:nvSpPr>
        <p:spPr>
          <a:xfrm>
            <a:off x="4727855" y="3535789"/>
            <a:ext cx="3984346" cy="2323713"/>
          </a:xfrm>
          <a:prstGeom prst="rect">
            <a:avLst/>
          </a:prstGeom>
          <a:noFill/>
        </p:spPr>
        <p:txBody>
          <a:bodyPr wrap="square" rtlCol="0">
            <a:spAutoFit/>
          </a:bodyPr>
          <a:lstStyle/>
          <a:p>
            <a:pPr marL="360363" indent="-177800" algn="just">
              <a:spcAft>
                <a:spcPts val="6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e marché est très spéculatif et répond aux lois de l’offre et de la demande. L'avantage d'entrer en économie circulaire est d'avoir un prix de vente constant pour un volume de chutes en rapport avec le volume de lingots ou demi-produits achetés.</a:t>
            </a:r>
          </a:p>
          <a:p>
            <a:pPr marL="360363" indent="-177800" algn="just">
              <a:spcAft>
                <a:spcPts val="6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intérêt d’un prix de reprise bas des matières réversibles permet la diminution de consommation de cash sur toute la </a:t>
            </a:r>
            <a:r>
              <a:rPr lang="fr-FR" sz="1400" dirty="0" err="1">
                <a:solidFill>
                  <a:schemeClr val="tx2"/>
                </a:solidFill>
                <a:cs typeface="Calibri" panose="020F0502020204030204" pitchFamily="34" charset="0"/>
              </a:rPr>
              <a:t>supply-chain</a:t>
            </a:r>
            <a:r>
              <a:rPr lang="fr-FR" sz="1400" dirty="0">
                <a:solidFill>
                  <a:schemeClr val="tx2"/>
                </a:solidFill>
                <a:cs typeface="Calibri" panose="020F0502020204030204" pitchFamily="34" charset="0"/>
              </a:rPr>
              <a:t>.</a:t>
            </a:r>
          </a:p>
        </p:txBody>
      </p:sp>
      <p:cxnSp>
        <p:nvCxnSpPr>
          <p:cNvPr id="49" name="Connecteur droit 48">
            <a:extLst>
              <a:ext uri="{FF2B5EF4-FFF2-40B4-BE49-F238E27FC236}">
                <a16:creationId xmlns:a16="http://schemas.microsoft.com/office/drawing/2014/main" id="{12EFEDC3-34BB-4CEA-8A93-2D1C727AAADF}"/>
              </a:ext>
            </a:extLst>
          </p:cNvPr>
          <p:cNvCxnSpPr/>
          <p:nvPr/>
        </p:nvCxnSpPr>
        <p:spPr>
          <a:xfrm>
            <a:off x="4573646" y="1423592"/>
            <a:ext cx="0" cy="3996000"/>
          </a:xfrm>
          <a:prstGeom prst="line">
            <a:avLst/>
          </a:prstGeom>
          <a:ln>
            <a:solidFill>
              <a:srgbClr val="1B9D91"/>
            </a:solidFill>
          </a:ln>
        </p:spPr>
        <p:style>
          <a:lnRef idx="1">
            <a:schemeClr val="accent1"/>
          </a:lnRef>
          <a:fillRef idx="0">
            <a:schemeClr val="accent1"/>
          </a:fillRef>
          <a:effectRef idx="0">
            <a:schemeClr val="accent1"/>
          </a:effectRef>
          <a:fontRef idx="minor">
            <a:schemeClr val="tx1"/>
          </a:fontRef>
        </p:style>
      </p:cxnSp>
      <p:grpSp>
        <p:nvGrpSpPr>
          <p:cNvPr id="56" name="Group 10">
            <a:extLst>
              <a:ext uri="{FF2B5EF4-FFF2-40B4-BE49-F238E27FC236}">
                <a16:creationId xmlns:a16="http://schemas.microsoft.com/office/drawing/2014/main" id="{9056A0FD-8631-4486-967E-F83C623DE3BC}"/>
              </a:ext>
            </a:extLst>
          </p:cNvPr>
          <p:cNvGrpSpPr>
            <a:grpSpLocks noChangeAspect="1"/>
          </p:cNvGrpSpPr>
          <p:nvPr/>
        </p:nvGrpSpPr>
        <p:grpSpPr>
          <a:xfrm rot="16200000">
            <a:off x="4354046" y="3209400"/>
            <a:ext cx="439200" cy="439200"/>
            <a:chOff x="477582" y="2362623"/>
            <a:chExt cx="590158" cy="590158"/>
          </a:xfrm>
        </p:grpSpPr>
        <p:sp>
          <p:nvSpPr>
            <p:cNvPr id="60" name="Oval 14">
              <a:extLst>
                <a:ext uri="{FF2B5EF4-FFF2-40B4-BE49-F238E27FC236}">
                  <a16:creationId xmlns:a16="http://schemas.microsoft.com/office/drawing/2014/main" id="{0A363E9E-293C-40E6-AAD0-C80D111100AF}"/>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61" name="ChevronBlue 33">
              <a:extLst>
                <a:ext uri="{FF2B5EF4-FFF2-40B4-BE49-F238E27FC236}">
                  <a16:creationId xmlns:a16="http://schemas.microsoft.com/office/drawing/2014/main" id="{F88E9F2D-9B77-4582-B168-913A2F419210}"/>
                </a:ext>
              </a:extLst>
            </p:cNvPr>
            <p:cNvGrpSpPr>
              <a:grpSpLocks noChangeAspect="1"/>
            </p:cNvGrpSpPr>
            <p:nvPr>
              <p:custDataLst>
                <p:tags r:id="rId2"/>
              </p:custDataLst>
            </p:nvPr>
          </p:nvGrpSpPr>
          <p:grpSpPr>
            <a:xfrm rot="5400000">
              <a:off x="554736" y="2439776"/>
              <a:ext cx="435851" cy="435851"/>
              <a:chOff x="1016000" y="1016000"/>
              <a:chExt cx="396228" cy="396228"/>
            </a:xfrm>
          </p:grpSpPr>
          <p:sp>
            <p:nvSpPr>
              <p:cNvPr id="62" name="Oval 16">
                <a:extLst>
                  <a:ext uri="{FF2B5EF4-FFF2-40B4-BE49-F238E27FC236}">
                    <a16:creationId xmlns:a16="http://schemas.microsoft.com/office/drawing/2014/main" id="{1141EACC-56DC-49E3-B4FC-8EE81F7007D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63" name="Freeform: Shape 17">
                <a:extLst>
                  <a:ext uri="{FF2B5EF4-FFF2-40B4-BE49-F238E27FC236}">
                    <a16:creationId xmlns:a16="http://schemas.microsoft.com/office/drawing/2014/main" id="{4AA41C5A-5E87-4F3E-82CC-CDE275DFE746}"/>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sp>
        <p:nvSpPr>
          <p:cNvPr id="20" name="Rectangle 19">
            <a:extLst>
              <a:ext uri="{FF2B5EF4-FFF2-40B4-BE49-F238E27FC236}">
                <a16:creationId xmlns:a16="http://schemas.microsoft.com/office/drawing/2014/main" id="{56F7D359-D449-47CE-BDDE-90A4325A5A27}"/>
              </a:ext>
            </a:extLst>
          </p:cNvPr>
          <p:cNvSpPr/>
          <p:nvPr/>
        </p:nvSpPr>
        <p:spPr>
          <a:xfrm>
            <a:off x="556703" y="2139581"/>
            <a:ext cx="3294000" cy="1239335"/>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cs typeface="Calibri" panose="020F0502020204030204" pitchFamily="34" charset="0"/>
              </a:rPr>
              <a:t>Quel intérêt à vendre des chutes à un prix inférieur au prix du marché ?</a:t>
            </a:r>
          </a:p>
        </p:txBody>
      </p:sp>
      <p:sp>
        <p:nvSpPr>
          <p:cNvPr id="21" name="ZoneTexte 20">
            <a:extLst>
              <a:ext uri="{FF2B5EF4-FFF2-40B4-BE49-F238E27FC236}">
                <a16:creationId xmlns:a16="http://schemas.microsoft.com/office/drawing/2014/main" id="{1195EBF0-8E05-44C8-A252-5680924033C2}"/>
              </a:ext>
            </a:extLst>
          </p:cNvPr>
          <p:cNvSpPr txBox="1"/>
          <p:nvPr/>
        </p:nvSpPr>
        <p:spPr>
          <a:xfrm>
            <a:off x="99602" y="1739277"/>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sp>
        <p:nvSpPr>
          <p:cNvPr id="23" name="ZoneTexte 22">
            <a:extLst>
              <a:ext uri="{FF2B5EF4-FFF2-40B4-BE49-F238E27FC236}">
                <a16:creationId xmlns:a16="http://schemas.microsoft.com/office/drawing/2014/main" id="{5A71D973-78A7-47AA-83E9-814E3AA6636E}"/>
              </a:ext>
            </a:extLst>
          </p:cNvPr>
          <p:cNvSpPr txBox="1"/>
          <p:nvPr/>
        </p:nvSpPr>
        <p:spPr>
          <a:xfrm>
            <a:off x="3666281" y="2296881"/>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
        <p:nvSpPr>
          <p:cNvPr id="24" name="Rectangle 23">
            <a:extLst>
              <a:ext uri="{FF2B5EF4-FFF2-40B4-BE49-F238E27FC236}">
                <a16:creationId xmlns:a16="http://schemas.microsoft.com/office/drawing/2014/main" id="{3898E298-C0E1-4DB5-9970-E252CC8769EC}"/>
              </a:ext>
            </a:extLst>
          </p:cNvPr>
          <p:cNvSpPr/>
          <p:nvPr/>
        </p:nvSpPr>
        <p:spPr>
          <a:xfrm>
            <a:off x="556703" y="3473016"/>
            <a:ext cx="3294000" cy="1600051"/>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cs typeface="Calibri" panose="020F0502020204030204" pitchFamily="34" charset="0"/>
              </a:rPr>
              <a:t>J'ai vendu des solides et copeaux à x €/kg sur le marché, vous devez les reprendre à un prix supérieur, il n'y a pas d'intermédiaires.</a:t>
            </a:r>
          </a:p>
        </p:txBody>
      </p:sp>
      <p:sp>
        <p:nvSpPr>
          <p:cNvPr id="25" name="ZoneTexte 24">
            <a:extLst>
              <a:ext uri="{FF2B5EF4-FFF2-40B4-BE49-F238E27FC236}">
                <a16:creationId xmlns:a16="http://schemas.microsoft.com/office/drawing/2014/main" id="{EABD1786-B3DA-4ABE-A5F4-EE8731E6371C}"/>
              </a:ext>
            </a:extLst>
          </p:cNvPr>
          <p:cNvSpPr txBox="1"/>
          <p:nvPr/>
        </p:nvSpPr>
        <p:spPr>
          <a:xfrm>
            <a:off x="128500" y="3120243"/>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sp>
        <p:nvSpPr>
          <p:cNvPr id="26" name="ZoneTexte 25">
            <a:extLst>
              <a:ext uri="{FF2B5EF4-FFF2-40B4-BE49-F238E27FC236}">
                <a16:creationId xmlns:a16="http://schemas.microsoft.com/office/drawing/2014/main" id="{46E7A7FC-209F-483E-B4FE-4D9540810295}"/>
              </a:ext>
            </a:extLst>
          </p:cNvPr>
          <p:cNvSpPr txBox="1"/>
          <p:nvPr/>
        </p:nvSpPr>
        <p:spPr>
          <a:xfrm>
            <a:off x="3681864" y="4095936"/>
            <a:ext cx="473137"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
        <p:nvSpPr>
          <p:cNvPr id="4" name="ZoneTexte 3">
            <a:extLst>
              <a:ext uri="{FF2B5EF4-FFF2-40B4-BE49-F238E27FC236}">
                <a16:creationId xmlns:a16="http://schemas.microsoft.com/office/drawing/2014/main" id="{742F9A2D-4D61-4B67-8D7E-CAAF45290A0F}"/>
              </a:ext>
            </a:extLst>
          </p:cNvPr>
          <p:cNvSpPr txBox="1"/>
          <p:nvPr/>
        </p:nvSpPr>
        <p:spPr>
          <a:xfrm>
            <a:off x="7820443" y="3190968"/>
            <a:ext cx="1274618" cy="200055"/>
          </a:xfrm>
          <a:prstGeom prst="rect">
            <a:avLst/>
          </a:prstGeom>
          <a:noFill/>
        </p:spPr>
        <p:txBody>
          <a:bodyPr wrap="square" rtlCol="0">
            <a:spAutoFit/>
          </a:bodyPr>
          <a:lstStyle/>
          <a:p>
            <a:r>
              <a:rPr lang="fr-FR" sz="700" dirty="0">
                <a:solidFill>
                  <a:schemeClr val="tx2"/>
                </a:solidFill>
              </a:rPr>
              <a:t>Source: </a:t>
            </a:r>
            <a:r>
              <a:rPr lang="fr-FR" sz="700" dirty="0" err="1">
                <a:solidFill>
                  <a:schemeClr val="tx2"/>
                </a:solidFill>
              </a:rPr>
              <a:t>Metalprices</a:t>
            </a:r>
            <a:endParaRPr lang="fr-FR" sz="700" dirty="0">
              <a:solidFill>
                <a:schemeClr val="tx2"/>
              </a:solidFill>
            </a:endParaRPr>
          </a:p>
        </p:txBody>
      </p:sp>
    </p:spTree>
    <p:extLst>
      <p:ext uri="{BB962C8B-B14F-4D97-AF65-F5344CB8AC3E}">
        <p14:creationId xmlns:p14="http://schemas.microsoft.com/office/powerpoint/2010/main" val="347020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8" name="Objet 417" hidden="1">
            <a:extLst>
              <a:ext uri="{FF2B5EF4-FFF2-40B4-BE49-F238E27FC236}">
                <a16:creationId xmlns:a16="http://schemas.microsoft.com/office/drawing/2014/main" id="{A03A10DE-604B-47BB-9635-E0726A9A4E53}"/>
              </a:ext>
            </a:extLst>
          </p:cNvPr>
          <p:cNvGraphicFramePr>
            <a:graphicFrameLocks noChangeAspect="1"/>
          </p:cNvGraphicFramePr>
          <p:nvPr>
            <p:custDataLst>
              <p:tags r:id="rId1"/>
            </p:custDataLst>
            <p:extLst>
              <p:ext uri="{D42A27DB-BD31-4B8C-83A1-F6EECF244321}">
                <p14:modId xmlns:p14="http://schemas.microsoft.com/office/powerpoint/2010/main" val="250288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9" imgW="344" imgH="344" progId="TCLayout.ActiveDocument.1">
                  <p:embed/>
                </p:oleObj>
              </mc:Choice>
              <mc:Fallback>
                <p:oleObj name="Diapositive think-cell" r:id="rId9" imgW="344" imgH="344" progId="TCLayout.ActiveDocument.1">
                  <p:embed/>
                  <p:pic>
                    <p:nvPicPr>
                      <p:cNvPr id="418" name="Objet 417" hidden="1">
                        <a:extLst>
                          <a:ext uri="{FF2B5EF4-FFF2-40B4-BE49-F238E27FC236}">
                            <a16:creationId xmlns:a16="http://schemas.microsoft.com/office/drawing/2014/main" id="{A03A10DE-604B-47BB-9635-E0726A9A4E5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96" name="ZoneTexte 295">
            <a:extLst>
              <a:ext uri="{FF2B5EF4-FFF2-40B4-BE49-F238E27FC236}">
                <a16:creationId xmlns:a16="http://schemas.microsoft.com/office/drawing/2014/main" id="{8167CA71-E185-4D7B-9715-C3FDDF56461F}"/>
              </a:ext>
            </a:extLst>
          </p:cNvPr>
          <p:cNvSpPr txBox="1"/>
          <p:nvPr/>
        </p:nvSpPr>
        <p:spPr>
          <a:xfrm>
            <a:off x="5265956" y="5629482"/>
            <a:ext cx="3574808" cy="461665"/>
          </a:xfrm>
          <a:prstGeom prst="rect">
            <a:avLst/>
          </a:prstGeom>
          <a:noFill/>
        </p:spPr>
        <p:txBody>
          <a:bodyPr wrap="square" rtlCol="0">
            <a:spAutoFit/>
          </a:bodyPr>
          <a:lstStyle/>
          <a:p>
            <a:pPr algn="ctr">
              <a:buClr>
                <a:srgbClr val="1B9D91"/>
              </a:buClr>
              <a:buSzPct val="125000"/>
            </a:pPr>
            <a:r>
              <a:rPr lang="fr-FR" sz="1200" b="1" dirty="0">
                <a:solidFill>
                  <a:schemeClr val="tx2"/>
                </a:solidFill>
              </a:rPr>
              <a:t>Prix du demi-produit avantageux et moins de cash mobilisé </a:t>
            </a:r>
          </a:p>
        </p:txBody>
      </p:sp>
      <p:sp>
        <p:nvSpPr>
          <p:cNvPr id="2" name="Titre 1">
            <a:extLst>
              <a:ext uri="{FF2B5EF4-FFF2-40B4-BE49-F238E27FC236}">
                <a16:creationId xmlns:a16="http://schemas.microsoft.com/office/drawing/2014/main" id="{91C35532-AC92-4015-A745-33590D810BF4}"/>
              </a:ext>
            </a:extLst>
          </p:cNvPr>
          <p:cNvSpPr>
            <a:spLocks noGrp="1"/>
          </p:cNvSpPr>
          <p:nvPr>
            <p:ph type="title"/>
          </p:nvPr>
        </p:nvSpPr>
        <p:spPr/>
        <p:txBody>
          <a:bodyPr vert="horz"/>
          <a:lstStyle/>
          <a:p>
            <a:r>
              <a:rPr lang="fr-FR" dirty="0"/>
              <a:t>Deux modèles économiques  </a:t>
            </a:r>
          </a:p>
        </p:txBody>
      </p:sp>
      <p:pic>
        <p:nvPicPr>
          <p:cNvPr id="191" name="Espace réservé du contenu 190" descr="Une image contenant texte, pièce&#10;&#10;Description générée automatiquement">
            <a:extLst>
              <a:ext uri="{FF2B5EF4-FFF2-40B4-BE49-F238E27FC236}">
                <a16:creationId xmlns:a16="http://schemas.microsoft.com/office/drawing/2014/main" id="{4DA32C52-1380-4C8D-A891-03D885DF2FB7}"/>
              </a:ext>
            </a:extLst>
          </p:cNvPr>
          <p:cNvPicPr>
            <a:picLocks noGrp="1" noChangeAspect="1"/>
          </p:cNvPicPr>
          <p:nvPr>
            <p:ph idx="1"/>
          </p:nvPr>
        </p:nvPicPr>
        <p:blipFill rotWithShape="1">
          <a:blip r:embed="rId11" cstate="screen">
            <a:extLst>
              <a:ext uri="{28A0092B-C50C-407E-A947-70E740481C1C}">
                <a14:useLocalDpi xmlns:a14="http://schemas.microsoft.com/office/drawing/2010/main"/>
              </a:ext>
            </a:extLst>
          </a:blip>
          <a:srcRect/>
          <a:stretch/>
        </p:blipFill>
        <p:spPr>
          <a:xfrm>
            <a:off x="1547720" y="4193965"/>
            <a:ext cx="642939" cy="542170"/>
          </a:xfrm>
        </p:spPr>
      </p:pic>
      <p:sp>
        <p:nvSpPr>
          <p:cNvPr id="5" name="Espace réservé de la date 4">
            <a:extLst>
              <a:ext uri="{FF2B5EF4-FFF2-40B4-BE49-F238E27FC236}">
                <a16:creationId xmlns:a16="http://schemas.microsoft.com/office/drawing/2014/main" id="{56916BC6-5F9B-4FD1-8EC3-BE6C01C1A3D6}"/>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DA366EE5-1AC5-479A-96D0-C9F24F677703}"/>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395C51A3-E9EB-42ED-9001-312BC70E5CB3}"/>
              </a:ext>
            </a:extLst>
          </p:cNvPr>
          <p:cNvSpPr>
            <a:spLocks noGrp="1"/>
          </p:cNvSpPr>
          <p:nvPr>
            <p:ph type="sldNum" sz="quarter" idx="16"/>
          </p:nvPr>
        </p:nvSpPr>
        <p:spPr/>
        <p:txBody>
          <a:bodyPr/>
          <a:lstStyle/>
          <a:p>
            <a:fld id="{733122C9-A0B9-462F-8757-0847AD287B63}" type="slidenum">
              <a:rPr lang="fr-FR" smtClean="0"/>
              <a:pPr/>
              <a:t>11</a:t>
            </a:fld>
            <a:endParaRPr lang="fr-FR" dirty="0"/>
          </a:p>
        </p:txBody>
      </p:sp>
      <p:grpSp>
        <p:nvGrpSpPr>
          <p:cNvPr id="31" name="Smart_manufacturing3" descr="{&quot;Key&quot;:&quot;POWER_USER_SHAPE_ICON&quot;,&quot;Value&quot;:&quot;POWER_USER_SHAPE_ICON_STYLE_1&quot;}">
            <a:extLst>
              <a:ext uri="{FF2B5EF4-FFF2-40B4-BE49-F238E27FC236}">
                <a16:creationId xmlns:a16="http://schemas.microsoft.com/office/drawing/2014/main" id="{73842238-A60E-41DF-AFDD-E57018B74541}"/>
              </a:ext>
            </a:extLst>
          </p:cNvPr>
          <p:cNvGrpSpPr>
            <a:grpSpLocks noChangeAspect="1"/>
          </p:cNvGrpSpPr>
          <p:nvPr>
            <p:custDataLst>
              <p:tags r:id="rId2"/>
            </p:custDataLst>
          </p:nvPr>
        </p:nvGrpSpPr>
        <p:grpSpPr>
          <a:xfrm>
            <a:off x="530970" y="2925550"/>
            <a:ext cx="563798" cy="512290"/>
            <a:chOff x="8048626" y="923925"/>
            <a:chExt cx="642938" cy="584200"/>
          </a:xfrm>
          <a:solidFill>
            <a:srgbClr val="C2D8D0"/>
          </a:solidFill>
        </p:grpSpPr>
        <p:sp>
          <p:nvSpPr>
            <p:cNvPr id="32" name="Freeform 471">
              <a:extLst>
                <a:ext uri="{FF2B5EF4-FFF2-40B4-BE49-F238E27FC236}">
                  <a16:creationId xmlns:a16="http://schemas.microsoft.com/office/drawing/2014/main" id="{0704AAE8-9992-4A72-8E39-4C96AA467D85}"/>
                </a:ext>
              </a:extLst>
            </p:cNvPr>
            <p:cNvSpPr>
              <a:spLocks noEditPoints="1"/>
            </p:cNvSpPr>
            <p:nvPr/>
          </p:nvSpPr>
          <p:spPr bwMode="auto">
            <a:xfrm>
              <a:off x="8048626" y="923925"/>
              <a:ext cx="642938" cy="584200"/>
            </a:xfrm>
            <a:custGeom>
              <a:avLst/>
              <a:gdLst>
                <a:gd name="T0" fmla="*/ 16 w 470"/>
                <a:gd name="T1" fmla="*/ 410 h 426"/>
                <a:gd name="T2" fmla="*/ 453 w 470"/>
                <a:gd name="T3" fmla="*/ 410 h 426"/>
                <a:gd name="T4" fmla="*/ 453 w 470"/>
                <a:gd name="T5" fmla="*/ 225 h 426"/>
                <a:gd name="T6" fmla="*/ 370 w 470"/>
                <a:gd name="T7" fmla="*/ 189 h 426"/>
                <a:gd name="T8" fmla="*/ 370 w 470"/>
                <a:gd name="T9" fmla="*/ 232 h 426"/>
                <a:gd name="T10" fmla="*/ 270 w 470"/>
                <a:gd name="T11" fmla="*/ 189 h 426"/>
                <a:gd name="T12" fmla="*/ 270 w 470"/>
                <a:gd name="T13" fmla="*/ 232 h 426"/>
                <a:gd name="T14" fmla="*/ 171 w 470"/>
                <a:gd name="T15" fmla="*/ 189 h 426"/>
                <a:gd name="T16" fmla="*/ 171 w 470"/>
                <a:gd name="T17" fmla="*/ 233 h 426"/>
                <a:gd name="T18" fmla="*/ 96 w 470"/>
                <a:gd name="T19" fmla="*/ 233 h 426"/>
                <a:gd name="T20" fmla="*/ 88 w 470"/>
                <a:gd name="T21" fmla="*/ 17 h 426"/>
                <a:gd name="T22" fmla="*/ 56 w 470"/>
                <a:gd name="T23" fmla="*/ 17 h 426"/>
                <a:gd name="T24" fmla="*/ 49 w 470"/>
                <a:gd name="T25" fmla="*/ 233 h 426"/>
                <a:gd name="T26" fmla="*/ 16 w 470"/>
                <a:gd name="T27" fmla="*/ 233 h 426"/>
                <a:gd name="T28" fmla="*/ 16 w 470"/>
                <a:gd name="T29" fmla="*/ 410 h 426"/>
                <a:gd name="T30" fmla="*/ 470 w 470"/>
                <a:gd name="T31" fmla="*/ 426 h 426"/>
                <a:gd name="T32" fmla="*/ 0 w 470"/>
                <a:gd name="T33" fmla="*/ 426 h 426"/>
                <a:gd name="T34" fmla="*/ 0 w 470"/>
                <a:gd name="T35" fmla="*/ 217 h 426"/>
                <a:gd name="T36" fmla="*/ 32 w 470"/>
                <a:gd name="T37" fmla="*/ 217 h 426"/>
                <a:gd name="T38" fmla="*/ 40 w 470"/>
                <a:gd name="T39" fmla="*/ 0 h 426"/>
                <a:gd name="T40" fmla="*/ 104 w 470"/>
                <a:gd name="T41" fmla="*/ 0 h 426"/>
                <a:gd name="T42" fmla="*/ 112 w 470"/>
                <a:gd name="T43" fmla="*/ 217 h 426"/>
                <a:gd name="T44" fmla="*/ 154 w 470"/>
                <a:gd name="T45" fmla="*/ 217 h 426"/>
                <a:gd name="T46" fmla="*/ 154 w 470"/>
                <a:gd name="T47" fmla="*/ 164 h 426"/>
                <a:gd name="T48" fmla="*/ 254 w 470"/>
                <a:gd name="T49" fmla="*/ 206 h 426"/>
                <a:gd name="T50" fmla="*/ 254 w 470"/>
                <a:gd name="T51" fmla="*/ 164 h 426"/>
                <a:gd name="T52" fmla="*/ 353 w 470"/>
                <a:gd name="T53" fmla="*/ 206 h 426"/>
                <a:gd name="T54" fmla="*/ 353 w 470"/>
                <a:gd name="T55" fmla="*/ 164 h 426"/>
                <a:gd name="T56" fmla="*/ 470 w 470"/>
                <a:gd name="T57" fmla="*/ 214 h 426"/>
                <a:gd name="T58" fmla="*/ 470 w 470"/>
                <a:gd name="T59"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0" h="426">
                  <a:moveTo>
                    <a:pt x="16" y="410"/>
                  </a:moveTo>
                  <a:lnTo>
                    <a:pt x="453" y="410"/>
                  </a:lnTo>
                  <a:lnTo>
                    <a:pt x="453" y="225"/>
                  </a:lnTo>
                  <a:lnTo>
                    <a:pt x="370" y="189"/>
                  </a:lnTo>
                  <a:lnTo>
                    <a:pt x="370" y="232"/>
                  </a:lnTo>
                  <a:lnTo>
                    <a:pt x="270" y="189"/>
                  </a:lnTo>
                  <a:lnTo>
                    <a:pt x="270" y="232"/>
                  </a:lnTo>
                  <a:lnTo>
                    <a:pt x="171" y="189"/>
                  </a:lnTo>
                  <a:lnTo>
                    <a:pt x="171" y="233"/>
                  </a:lnTo>
                  <a:lnTo>
                    <a:pt x="96" y="233"/>
                  </a:lnTo>
                  <a:lnTo>
                    <a:pt x="88" y="17"/>
                  </a:lnTo>
                  <a:lnTo>
                    <a:pt x="56" y="17"/>
                  </a:lnTo>
                  <a:lnTo>
                    <a:pt x="49" y="233"/>
                  </a:lnTo>
                  <a:lnTo>
                    <a:pt x="16" y="233"/>
                  </a:lnTo>
                  <a:lnTo>
                    <a:pt x="16" y="410"/>
                  </a:lnTo>
                  <a:close/>
                  <a:moveTo>
                    <a:pt x="470" y="426"/>
                  </a:moveTo>
                  <a:lnTo>
                    <a:pt x="0" y="426"/>
                  </a:lnTo>
                  <a:lnTo>
                    <a:pt x="0" y="217"/>
                  </a:lnTo>
                  <a:lnTo>
                    <a:pt x="32" y="217"/>
                  </a:lnTo>
                  <a:lnTo>
                    <a:pt x="40" y="0"/>
                  </a:lnTo>
                  <a:lnTo>
                    <a:pt x="104" y="0"/>
                  </a:lnTo>
                  <a:lnTo>
                    <a:pt x="112" y="217"/>
                  </a:lnTo>
                  <a:lnTo>
                    <a:pt x="154" y="217"/>
                  </a:lnTo>
                  <a:lnTo>
                    <a:pt x="154" y="164"/>
                  </a:lnTo>
                  <a:lnTo>
                    <a:pt x="254" y="206"/>
                  </a:lnTo>
                  <a:lnTo>
                    <a:pt x="254" y="164"/>
                  </a:lnTo>
                  <a:lnTo>
                    <a:pt x="353" y="206"/>
                  </a:lnTo>
                  <a:lnTo>
                    <a:pt x="353" y="164"/>
                  </a:lnTo>
                  <a:lnTo>
                    <a:pt x="470" y="214"/>
                  </a:lnTo>
                  <a:lnTo>
                    <a:pt x="470" y="42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472">
              <a:extLst>
                <a:ext uri="{FF2B5EF4-FFF2-40B4-BE49-F238E27FC236}">
                  <a16:creationId xmlns:a16="http://schemas.microsoft.com/office/drawing/2014/main" id="{09BA3DB3-8637-4EDF-9207-9DF4749F43D1}"/>
                </a:ext>
              </a:extLst>
            </p:cNvPr>
            <p:cNvSpPr>
              <a:spLocks noEditPoints="1"/>
            </p:cNvSpPr>
            <p:nvPr/>
          </p:nvSpPr>
          <p:spPr bwMode="auto">
            <a:xfrm>
              <a:off x="8524876" y="1300163"/>
              <a:ext cx="106363" cy="103188"/>
            </a:xfrm>
            <a:custGeom>
              <a:avLst/>
              <a:gdLst>
                <a:gd name="T0" fmla="*/ 17 w 77"/>
                <a:gd name="T1" fmla="*/ 59 h 76"/>
                <a:gd name="T2" fmla="*/ 60 w 77"/>
                <a:gd name="T3" fmla="*/ 59 h 76"/>
                <a:gd name="T4" fmla="*/ 60 w 77"/>
                <a:gd name="T5" fmla="*/ 16 h 76"/>
                <a:gd name="T6" fmla="*/ 17 w 77"/>
                <a:gd name="T7" fmla="*/ 16 h 76"/>
                <a:gd name="T8" fmla="*/ 17 w 77"/>
                <a:gd name="T9" fmla="*/ 59 h 76"/>
                <a:gd name="T10" fmla="*/ 77 w 77"/>
                <a:gd name="T11" fmla="*/ 76 h 76"/>
                <a:gd name="T12" fmla="*/ 0 w 77"/>
                <a:gd name="T13" fmla="*/ 76 h 76"/>
                <a:gd name="T14" fmla="*/ 0 w 77"/>
                <a:gd name="T15" fmla="*/ 0 h 76"/>
                <a:gd name="T16" fmla="*/ 77 w 77"/>
                <a:gd name="T17" fmla="*/ 0 h 76"/>
                <a:gd name="T18" fmla="*/ 77 w 7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6">
                  <a:moveTo>
                    <a:pt x="17" y="59"/>
                  </a:moveTo>
                  <a:lnTo>
                    <a:pt x="60" y="59"/>
                  </a:lnTo>
                  <a:lnTo>
                    <a:pt x="60" y="16"/>
                  </a:lnTo>
                  <a:lnTo>
                    <a:pt x="17" y="16"/>
                  </a:lnTo>
                  <a:lnTo>
                    <a:pt x="17" y="59"/>
                  </a:lnTo>
                  <a:close/>
                  <a:moveTo>
                    <a:pt x="77" y="76"/>
                  </a:moveTo>
                  <a:lnTo>
                    <a:pt x="0" y="76"/>
                  </a:lnTo>
                  <a:lnTo>
                    <a:pt x="0" y="0"/>
                  </a:lnTo>
                  <a:lnTo>
                    <a:pt x="77" y="0"/>
                  </a:lnTo>
                  <a:lnTo>
                    <a:pt x="77"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473">
              <a:extLst>
                <a:ext uri="{FF2B5EF4-FFF2-40B4-BE49-F238E27FC236}">
                  <a16:creationId xmlns:a16="http://schemas.microsoft.com/office/drawing/2014/main" id="{3CF93E9B-D52E-4136-8A1D-291DA472834B}"/>
                </a:ext>
              </a:extLst>
            </p:cNvPr>
            <p:cNvSpPr>
              <a:spLocks noEditPoints="1"/>
            </p:cNvSpPr>
            <p:nvPr/>
          </p:nvSpPr>
          <p:spPr bwMode="auto">
            <a:xfrm>
              <a:off x="8393113" y="1300163"/>
              <a:ext cx="103188"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474">
              <a:extLst>
                <a:ext uri="{FF2B5EF4-FFF2-40B4-BE49-F238E27FC236}">
                  <a16:creationId xmlns:a16="http://schemas.microsoft.com/office/drawing/2014/main" id="{AD1DC7E9-8066-4E8C-8F02-2B0E3524CA21}"/>
                </a:ext>
              </a:extLst>
            </p:cNvPr>
            <p:cNvSpPr>
              <a:spLocks noEditPoints="1"/>
            </p:cNvSpPr>
            <p:nvPr/>
          </p:nvSpPr>
          <p:spPr bwMode="auto">
            <a:xfrm>
              <a:off x="8259763" y="1300163"/>
              <a:ext cx="104775"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3" name="Assembling2" descr="{&quot;Key&quot;:&quot;POWER_USER_SHAPE_ICON&quot;,&quot;Value&quot;:&quot;POWER_USER_SHAPE_ICON_STYLE_1&quot;}">
            <a:extLst>
              <a:ext uri="{FF2B5EF4-FFF2-40B4-BE49-F238E27FC236}">
                <a16:creationId xmlns:a16="http://schemas.microsoft.com/office/drawing/2014/main" id="{39B1151B-CF89-489F-A553-0D65C5B97BFF}"/>
              </a:ext>
            </a:extLst>
          </p:cNvPr>
          <p:cNvGrpSpPr>
            <a:grpSpLocks noChangeAspect="1"/>
          </p:cNvGrpSpPr>
          <p:nvPr/>
        </p:nvGrpSpPr>
        <p:grpSpPr>
          <a:xfrm>
            <a:off x="3641455" y="2925550"/>
            <a:ext cx="489523" cy="542925"/>
            <a:chOff x="4249738" y="6434138"/>
            <a:chExt cx="261938" cy="290513"/>
          </a:xfrm>
          <a:solidFill>
            <a:srgbClr val="C2D8D0"/>
          </a:solidFill>
        </p:grpSpPr>
        <p:sp>
          <p:nvSpPr>
            <p:cNvPr id="124" name="Freeform 189">
              <a:extLst>
                <a:ext uri="{FF2B5EF4-FFF2-40B4-BE49-F238E27FC236}">
                  <a16:creationId xmlns:a16="http://schemas.microsoft.com/office/drawing/2014/main" id="{177E3AF4-930F-45E6-B560-ECC259B35B9B}"/>
                </a:ext>
              </a:extLst>
            </p:cNvPr>
            <p:cNvSpPr>
              <a:spLocks/>
            </p:cNvSpPr>
            <p:nvPr/>
          </p:nvSpPr>
          <p:spPr bwMode="auto">
            <a:xfrm>
              <a:off x="4259263" y="6597650"/>
              <a:ext cx="26988"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9"/>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90">
              <a:extLst>
                <a:ext uri="{FF2B5EF4-FFF2-40B4-BE49-F238E27FC236}">
                  <a16:creationId xmlns:a16="http://schemas.microsoft.com/office/drawing/2014/main" id="{0CC8E622-29BF-41AD-AA36-84DA6B9D86DA}"/>
                </a:ext>
              </a:extLst>
            </p:cNvPr>
            <p:cNvSpPr>
              <a:spLocks/>
            </p:cNvSpPr>
            <p:nvPr/>
          </p:nvSpPr>
          <p:spPr bwMode="auto">
            <a:xfrm>
              <a:off x="4313238" y="6597650"/>
              <a:ext cx="26988" cy="25400"/>
            </a:xfrm>
            <a:custGeom>
              <a:avLst/>
              <a:gdLst>
                <a:gd name="T0" fmla="*/ 112 w 129"/>
                <a:gd name="T1" fmla="*/ 65 h 129"/>
                <a:gd name="T2" fmla="*/ 96 w 129"/>
                <a:gd name="T3" fmla="*/ 65 h 129"/>
                <a:gd name="T4" fmla="*/ 64 w 129"/>
                <a:gd name="T5" fmla="*/ 96 h 129"/>
                <a:gd name="T6" fmla="*/ 33 w 129"/>
                <a:gd name="T7" fmla="*/ 65 h 129"/>
                <a:gd name="T8" fmla="*/ 64 w 129"/>
                <a:gd name="T9" fmla="*/ 34 h 129"/>
                <a:gd name="T10" fmla="*/ 96 w 129"/>
                <a:gd name="T11" fmla="*/ 65 h 129"/>
                <a:gd name="T12" fmla="*/ 112 w 129"/>
                <a:gd name="T13" fmla="*/ 65 h 129"/>
                <a:gd name="T14" fmla="*/ 129 w 129"/>
                <a:gd name="T15" fmla="*/ 65 h 129"/>
                <a:gd name="T16" fmla="*/ 64 w 129"/>
                <a:gd name="T17" fmla="*/ 0 h 129"/>
                <a:gd name="T18" fmla="*/ 0 w 129"/>
                <a:gd name="T19" fmla="*/ 65 h 129"/>
                <a:gd name="T20" fmla="*/ 64 w 129"/>
                <a:gd name="T21" fmla="*/ 129 h 129"/>
                <a:gd name="T22" fmla="*/ 129 w 129"/>
                <a:gd name="T23" fmla="*/ 65 h 129"/>
                <a:gd name="T24" fmla="*/ 112 w 129"/>
                <a:gd name="T2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2" y="65"/>
                  </a:moveTo>
                  <a:lnTo>
                    <a:pt x="96" y="65"/>
                  </a:lnTo>
                  <a:cubicBezTo>
                    <a:pt x="96" y="82"/>
                    <a:pt x="82" y="96"/>
                    <a:pt x="64" y="96"/>
                  </a:cubicBezTo>
                  <a:cubicBezTo>
                    <a:pt x="47" y="96"/>
                    <a:pt x="33" y="82"/>
                    <a:pt x="33" y="65"/>
                  </a:cubicBezTo>
                  <a:cubicBezTo>
                    <a:pt x="33" y="48"/>
                    <a:pt x="47" y="34"/>
                    <a:pt x="64" y="34"/>
                  </a:cubicBezTo>
                  <a:cubicBezTo>
                    <a:pt x="82" y="34"/>
                    <a:pt x="96" y="48"/>
                    <a:pt x="96" y="65"/>
                  </a:cubicBezTo>
                  <a:lnTo>
                    <a:pt x="112" y="65"/>
                  </a:lnTo>
                  <a:lnTo>
                    <a:pt x="129" y="65"/>
                  </a:lnTo>
                  <a:cubicBezTo>
                    <a:pt x="129" y="29"/>
                    <a:pt x="100" y="0"/>
                    <a:pt x="64" y="0"/>
                  </a:cubicBezTo>
                  <a:cubicBezTo>
                    <a:pt x="29" y="0"/>
                    <a:pt x="0" y="29"/>
                    <a:pt x="0" y="65"/>
                  </a:cubicBezTo>
                  <a:cubicBezTo>
                    <a:pt x="0" y="100"/>
                    <a:pt x="29" y="129"/>
                    <a:pt x="64" y="129"/>
                  </a:cubicBezTo>
                  <a:cubicBezTo>
                    <a:pt x="100" y="129"/>
                    <a:pt x="129" y="100"/>
                    <a:pt x="129" y="65"/>
                  </a:cubicBezTo>
                  <a:lnTo>
                    <a:pt x="112" y="6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191">
              <a:extLst>
                <a:ext uri="{FF2B5EF4-FFF2-40B4-BE49-F238E27FC236}">
                  <a16:creationId xmlns:a16="http://schemas.microsoft.com/office/drawing/2014/main" id="{1B8D048C-9B19-4389-B5DD-57A391BFBA62}"/>
                </a:ext>
              </a:extLst>
            </p:cNvPr>
            <p:cNvSpPr>
              <a:spLocks/>
            </p:cNvSpPr>
            <p:nvPr/>
          </p:nvSpPr>
          <p:spPr bwMode="auto">
            <a:xfrm>
              <a:off x="4367213" y="6597650"/>
              <a:ext cx="26988" cy="25400"/>
            </a:xfrm>
            <a:custGeom>
              <a:avLst/>
              <a:gdLst>
                <a:gd name="T0" fmla="*/ 113 w 129"/>
                <a:gd name="T1" fmla="*/ 64 h 129"/>
                <a:gd name="T2" fmla="*/ 96 w 129"/>
                <a:gd name="T3" fmla="*/ 64 h 129"/>
                <a:gd name="T4" fmla="*/ 65 w 129"/>
                <a:gd name="T5" fmla="*/ 96 h 129"/>
                <a:gd name="T6" fmla="*/ 65 w 129"/>
                <a:gd name="T7" fmla="*/ 96 h 129"/>
                <a:gd name="T8" fmla="*/ 34 w 129"/>
                <a:gd name="T9" fmla="*/ 65 h 129"/>
                <a:gd name="T10" fmla="*/ 65 w 129"/>
                <a:gd name="T11" fmla="*/ 34 h 129"/>
                <a:gd name="T12" fmla="*/ 96 w 129"/>
                <a:gd name="T13" fmla="*/ 65 h 129"/>
                <a:gd name="T14" fmla="*/ 113 w 129"/>
                <a:gd name="T15" fmla="*/ 64 h 129"/>
                <a:gd name="T16" fmla="*/ 129 w 129"/>
                <a:gd name="T17" fmla="*/ 64 h 129"/>
                <a:gd name="T18" fmla="*/ 65 w 129"/>
                <a:gd name="T19" fmla="*/ 0 h 129"/>
                <a:gd name="T20" fmla="*/ 0 w 129"/>
                <a:gd name="T21" fmla="*/ 65 h 129"/>
                <a:gd name="T22" fmla="*/ 65 w 129"/>
                <a:gd name="T23" fmla="*/ 129 h 129"/>
                <a:gd name="T24" fmla="*/ 129 w 129"/>
                <a:gd name="T25" fmla="*/ 64 h 129"/>
                <a:gd name="T26" fmla="*/ 129 w 129"/>
                <a:gd name="T27" fmla="*/ 64 h 129"/>
                <a:gd name="T28" fmla="*/ 113 w 129"/>
                <a:gd name="T2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29">
                  <a:moveTo>
                    <a:pt x="113" y="64"/>
                  </a:moveTo>
                  <a:lnTo>
                    <a:pt x="96" y="64"/>
                  </a:lnTo>
                  <a:cubicBezTo>
                    <a:pt x="96" y="82"/>
                    <a:pt x="82" y="96"/>
                    <a:pt x="65" y="96"/>
                  </a:cubicBezTo>
                  <a:lnTo>
                    <a:pt x="65" y="96"/>
                  </a:lnTo>
                  <a:cubicBezTo>
                    <a:pt x="48" y="96"/>
                    <a:pt x="34" y="82"/>
                    <a:pt x="34" y="65"/>
                  </a:cubicBezTo>
                  <a:cubicBezTo>
                    <a:pt x="34" y="47"/>
                    <a:pt x="48" y="34"/>
                    <a:pt x="65" y="34"/>
                  </a:cubicBezTo>
                  <a:cubicBezTo>
                    <a:pt x="82" y="34"/>
                    <a:pt x="96" y="47"/>
                    <a:pt x="96" y="65"/>
                  </a:cubicBezTo>
                  <a:lnTo>
                    <a:pt x="113" y="64"/>
                  </a:lnTo>
                  <a:lnTo>
                    <a:pt x="129" y="64"/>
                  </a:lnTo>
                  <a:cubicBezTo>
                    <a:pt x="129" y="29"/>
                    <a:pt x="100" y="0"/>
                    <a:pt x="65" y="0"/>
                  </a:cubicBezTo>
                  <a:cubicBezTo>
                    <a:pt x="29" y="0"/>
                    <a:pt x="0" y="29"/>
                    <a:pt x="0" y="65"/>
                  </a:cubicBezTo>
                  <a:cubicBezTo>
                    <a:pt x="0" y="100"/>
                    <a:pt x="29" y="129"/>
                    <a:pt x="65" y="129"/>
                  </a:cubicBezTo>
                  <a:cubicBezTo>
                    <a:pt x="101" y="129"/>
                    <a:pt x="129" y="100"/>
                    <a:pt x="129" y="64"/>
                  </a:cubicBezTo>
                  <a:lnTo>
                    <a:pt x="129" y="64"/>
                  </a:ln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92">
              <a:extLst>
                <a:ext uri="{FF2B5EF4-FFF2-40B4-BE49-F238E27FC236}">
                  <a16:creationId xmlns:a16="http://schemas.microsoft.com/office/drawing/2014/main" id="{4B689080-8C62-48E2-B38A-20C7745BE010}"/>
                </a:ext>
              </a:extLst>
            </p:cNvPr>
            <p:cNvSpPr>
              <a:spLocks/>
            </p:cNvSpPr>
            <p:nvPr/>
          </p:nvSpPr>
          <p:spPr bwMode="auto">
            <a:xfrm>
              <a:off x="4421188" y="6597650"/>
              <a:ext cx="26988" cy="25400"/>
            </a:xfrm>
            <a:custGeom>
              <a:avLst/>
              <a:gdLst>
                <a:gd name="T0" fmla="*/ 112 w 129"/>
                <a:gd name="T1" fmla="*/ 64 h 129"/>
                <a:gd name="T2" fmla="*/ 96 w 129"/>
                <a:gd name="T3" fmla="*/ 64 h 129"/>
                <a:gd name="T4" fmla="*/ 64 w 129"/>
                <a:gd name="T5" fmla="*/ 95 h 129"/>
                <a:gd name="T6" fmla="*/ 33 w 129"/>
                <a:gd name="T7" fmla="*/ 64 h 129"/>
                <a:gd name="T8" fmla="*/ 64 w 129"/>
                <a:gd name="T9" fmla="*/ 33 h 129"/>
                <a:gd name="T10" fmla="*/ 96 w 129"/>
                <a:gd name="T11" fmla="*/ 64 h 129"/>
                <a:gd name="T12" fmla="*/ 112 w 129"/>
                <a:gd name="T13" fmla="*/ 64 h 129"/>
                <a:gd name="T14" fmla="*/ 129 w 129"/>
                <a:gd name="T15" fmla="*/ 64 h 129"/>
                <a:gd name="T16" fmla="*/ 64 w 129"/>
                <a:gd name="T17" fmla="*/ 0 h 129"/>
                <a:gd name="T18" fmla="*/ 0 w 129"/>
                <a:gd name="T19" fmla="*/ 64 h 129"/>
                <a:gd name="T20" fmla="*/ 64 w 129"/>
                <a:gd name="T21" fmla="*/ 129 h 129"/>
                <a:gd name="T22" fmla="*/ 129 w 129"/>
                <a:gd name="T23" fmla="*/ 64 h 129"/>
                <a:gd name="T24" fmla="*/ 129 w 129"/>
                <a:gd name="T25" fmla="*/ 64 h 129"/>
                <a:gd name="T26" fmla="*/ 112 w 129"/>
                <a:gd name="T27"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129">
                  <a:moveTo>
                    <a:pt x="112" y="64"/>
                  </a:moveTo>
                  <a:lnTo>
                    <a:pt x="96" y="64"/>
                  </a:lnTo>
                  <a:cubicBezTo>
                    <a:pt x="96" y="82"/>
                    <a:pt x="82" y="95"/>
                    <a:pt x="64" y="95"/>
                  </a:cubicBezTo>
                  <a:cubicBezTo>
                    <a:pt x="47" y="95"/>
                    <a:pt x="33" y="82"/>
                    <a:pt x="33" y="64"/>
                  </a:cubicBezTo>
                  <a:cubicBezTo>
                    <a:pt x="33" y="47"/>
                    <a:pt x="47" y="33"/>
                    <a:pt x="64" y="33"/>
                  </a:cubicBezTo>
                  <a:cubicBezTo>
                    <a:pt x="82" y="33"/>
                    <a:pt x="96" y="47"/>
                    <a:pt x="96" y="64"/>
                  </a:cubicBezTo>
                  <a:lnTo>
                    <a:pt x="112" y="64"/>
                  </a:lnTo>
                  <a:lnTo>
                    <a:pt x="129" y="64"/>
                  </a:lnTo>
                  <a:cubicBezTo>
                    <a:pt x="129" y="29"/>
                    <a:pt x="100" y="0"/>
                    <a:pt x="64" y="0"/>
                  </a:cubicBezTo>
                  <a:cubicBezTo>
                    <a:pt x="29" y="0"/>
                    <a:pt x="0" y="29"/>
                    <a:pt x="0" y="64"/>
                  </a:cubicBezTo>
                  <a:cubicBezTo>
                    <a:pt x="0" y="100"/>
                    <a:pt x="29" y="129"/>
                    <a:pt x="64" y="129"/>
                  </a:cubicBezTo>
                  <a:cubicBezTo>
                    <a:pt x="100" y="129"/>
                    <a:pt x="129" y="100"/>
                    <a:pt x="129" y="64"/>
                  </a:cubicBezTo>
                  <a:lnTo>
                    <a:pt x="129" y="64"/>
                  </a:lnTo>
                  <a:lnTo>
                    <a:pt x="112"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193">
              <a:extLst>
                <a:ext uri="{FF2B5EF4-FFF2-40B4-BE49-F238E27FC236}">
                  <a16:creationId xmlns:a16="http://schemas.microsoft.com/office/drawing/2014/main" id="{688B21DF-E2FD-43A2-BCE9-9B0D84D2335C}"/>
                </a:ext>
              </a:extLst>
            </p:cNvPr>
            <p:cNvSpPr>
              <a:spLocks/>
            </p:cNvSpPr>
            <p:nvPr/>
          </p:nvSpPr>
          <p:spPr bwMode="auto">
            <a:xfrm>
              <a:off x="4475163" y="6597650"/>
              <a:ext cx="25400"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8"/>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194">
              <a:extLst>
                <a:ext uri="{FF2B5EF4-FFF2-40B4-BE49-F238E27FC236}">
                  <a16:creationId xmlns:a16="http://schemas.microsoft.com/office/drawing/2014/main" id="{6CA5B73D-3DF4-4FAF-8D4B-864913A0CE5C}"/>
                </a:ext>
              </a:extLst>
            </p:cNvPr>
            <p:cNvSpPr>
              <a:spLocks/>
            </p:cNvSpPr>
            <p:nvPr/>
          </p:nvSpPr>
          <p:spPr bwMode="auto">
            <a:xfrm>
              <a:off x="4249738" y="6589713"/>
              <a:ext cx="261938" cy="41275"/>
            </a:xfrm>
            <a:custGeom>
              <a:avLst/>
              <a:gdLst>
                <a:gd name="T0" fmla="*/ 1174 w 1276"/>
                <a:gd name="T1" fmla="*/ 187 h 205"/>
                <a:gd name="T2" fmla="*/ 1174 w 1276"/>
                <a:gd name="T3" fmla="*/ 171 h 205"/>
                <a:gd name="T4" fmla="*/ 102 w 1276"/>
                <a:gd name="T5" fmla="*/ 172 h 205"/>
                <a:gd name="T6" fmla="*/ 34 w 1276"/>
                <a:gd name="T7" fmla="*/ 103 h 205"/>
                <a:gd name="T8" fmla="*/ 102 w 1276"/>
                <a:gd name="T9" fmla="*/ 35 h 205"/>
                <a:gd name="T10" fmla="*/ 1174 w 1276"/>
                <a:gd name="T11" fmla="*/ 33 h 205"/>
                <a:gd name="T12" fmla="*/ 1242 w 1276"/>
                <a:gd name="T13" fmla="*/ 102 h 205"/>
                <a:gd name="T14" fmla="*/ 1174 w 1276"/>
                <a:gd name="T15" fmla="*/ 171 h 205"/>
                <a:gd name="T16" fmla="*/ 1174 w 1276"/>
                <a:gd name="T17" fmla="*/ 187 h 205"/>
                <a:gd name="T18" fmla="*/ 1174 w 1276"/>
                <a:gd name="T19" fmla="*/ 204 h 205"/>
                <a:gd name="T20" fmla="*/ 1276 w 1276"/>
                <a:gd name="T21" fmla="*/ 102 h 205"/>
                <a:gd name="T22" fmla="*/ 1174 w 1276"/>
                <a:gd name="T23" fmla="*/ 0 h 205"/>
                <a:gd name="T24" fmla="*/ 102 w 1276"/>
                <a:gd name="T25" fmla="*/ 1 h 205"/>
                <a:gd name="T26" fmla="*/ 0 w 1276"/>
                <a:gd name="T27" fmla="*/ 103 h 205"/>
                <a:gd name="T28" fmla="*/ 102 w 1276"/>
                <a:gd name="T29" fmla="*/ 205 h 205"/>
                <a:gd name="T30" fmla="*/ 1174 w 1276"/>
                <a:gd name="T31" fmla="*/ 204 h 205"/>
                <a:gd name="T32" fmla="*/ 1174 w 1276"/>
                <a:gd name="T33" fmla="*/ 1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6" h="205">
                  <a:moveTo>
                    <a:pt x="1174" y="187"/>
                  </a:moveTo>
                  <a:lnTo>
                    <a:pt x="1174" y="171"/>
                  </a:lnTo>
                  <a:lnTo>
                    <a:pt x="102" y="172"/>
                  </a:lnTo>
                  <a:cubicBezTo>
                    <a:pt x="64" y="172"/>
                    <a:pt x="34" y="141"/>
                    <a:pt x="34" y="103"/>
                  </a:cubicBezTo>
                  <a:cubicBezTo>
                    <a:pt x="34" y="65"/>
                    <a:pt x="64" y="35"/>
                    <a:pt x="102" y="35"/>
                  </a:cubicBezTo>
                  <a:lnTo>
                    <a:pt x="1174" y="33"/>
                  </a:lnTo>
                  <a:cubicBezTo>
                    <a:pt x="1212" y="33"/>
                    <a:pt x="1242" y="64"/>
                    <a:pt x="1242" y="102"/>
                  </a:cubicBezTo>
                  <a:cubicBezTo>
                    <a:pt x="1242" y="140"/>
                    <a:pt x="1212" y="170"/>
                    <a:pt x="1174" y="171"/>
                  </a:cubicBezTo>
                  <a:lnTo>
                    <a:pt x="1174" y="187"/>
                  </a:lnTo>
                  <a:lnTo>
                    <a:pt x="1174" y="204"/>
                  </a:lnTo>
                  <a:cubicBezTo>
                    <a:pt x="1230" y="204"/>
                    <a:pt x="1276" y="158"/>
                    <a:pt x="1276" y="102"/>
                  </a:cubicBezTo>
                  <a:cubicBezTo>
                    <a:pt x="1275" y="46"/>
                    <a:pt x="1230" y="0"/>
                    <a:pt x="1174" y="0"/>
                  </a:cubicBezTo>
                  <a:lnTo>
                    <a:pt x="102" y="1"/>
                  </a:lnTo>
                  <a:cubicBezTo>
                    <a:pt x="46" y="1"/>
                    <a:pt x="0" y="47"/>
                    <a:pt x="0" y="103"/>
                  </a:cubicBezTo>
                  <a:cubicBezTo>
                    <a:pt x="0" y="159"/>
                    <a:pt x="46" y="205"/>
                    <a:pt x="102" y="205"/>
                  </a:cubicBezTo>
                  <a:lnTo>
                    <a:pt x="1174" y="204"/>
                  </a:lnTo>
                  <a:lnTo>
                    <a:pt x="1174" y="18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195">
              <a:extLst>
                <a:ext uri="{FF2B5EF4-FFF2-40B4-BE49-F238E27FC236}">
                  <a16:creationId xmlns:a16="http://schemas.microsoft.com/office/drawing/2014/main" id="{1ACE2669-A036-4468-98C2-045D2732A3CB}"/>
                </a:ext>
              </a:extLst>
            </p:cNvPr>
            <p:cNvSpPr>
              <a:spLocks/>
            </p:cNvSpPr>
            <p:nvPr/>
          </p:nvSpPr>
          <p:spPr bwMode="auto">
            <a:xfrm>
              <a:off x="4270376" y="6494463"/>
              <a:ext cx="100013" cy="101600"/>
            </a:xfrm>
            <a:custGeom>
              <a:avLst/>
              <a:gdLst>
                <a:gd name="T0" fmla="*/ 468 w 485"/>
                <a:gd name="T1" fmla="*/ 461 h 496"/>
                <a:gd name="T2" fmla="*/ 34 w 485"/>
                <a:gd name="T3" fmla="*/ 462 h 496"/>
                <a:gd name="T4" fmla="*/ 33 w 485"/>
                <a:gd name="T5" fmla="*/ 264 h 496"/>
                <a:gd name="T6" fmla="*/ 77 w 485"/>
                <a:gd name="T7" fmla="*/ 183 h 496"/>
                <a:gd name="T8" fmla="*/ 77 w 485"/>
                <a:gd name="T9" fmla="*/ 183 h 496"/>
                <a:gd name="T10" fmla="*/ 141 w 485"/>
                <a:gd name="T11" fmla="*/ 141 h 496"/>
                <a:gd name="T12" fmla="*/ 141 w 485"/>
                <a:gd name="T13" fmla="*/ 141 h 496"/>
                <a:gd name="T14" fmla="*/ 189 w 485"/>
                <a:gd name="T15" fmla="*/ 51 h 496"/>
                <a:gd name="T16" fmla="*/ 189 w 485"/>
                <a:gd name="T17" fmla="*/ 46 h 496"/>
                <a:gd name="T18" fmla="*/ 173 w 485"/>
                <a:gd name="T19" fmla="*/ 46 h 496"/>
                <a:gd name="T20" fmla="*/ 160 w 485"/>
                <a:gd name="T21" fmla="*/ 57 h 496"/>
                <a:gd name="T22" fmla="*/ 242 w 485"/>
                <a:gd name="T23" fmla="*/ 98 h 496"/>
                <a:gd name="T24" fmla="*/ 325 w 485"/>
                <a:gd name="T25" fmla="*/ 57 h 496"/>
                <a:gd name="T26" fmla="*/ 312 w 485"/>
                <a:gd name="T27" fmla="*/ 46 h 496"/>
                <a:gd name="T28" fmla="*/ 295 w 485"/>
                <a:gd name="T29" fmla="*/ 46 h 496"/>
                <a:gd name="T30" fmla="*/ 295 w 485"/>
                <a:gd name="T31" fmla="*/ 51 h 496"/>
                <a:gd name="T32" fmla="*/ 343 w 485"/>
                <a:gd name="T33" fmla="*/ 141 h 496"/>
                <a:gd name="T34" fmla="*/ 408 w 485"/>
                <a:gd name="T35" fmla="*/ 183 h 496"/>
                <a:gd name="T36" fmla="*/ 408 w 485"/>
                <a:gd name="T37" fmla="*/ 183 h 496"/>
                <a:gd name="T38" fmla="*/ 452 w 485"/>
                <a:gd name="T39" fmla="*/ 264 h 496"/>
                <a:gd name="T40" fmla="*/ 452 w 485"/>
                <a:gd name="T41" fmla="*/ 292 h 496"/>
                <a:gd name="T42" fmla="*/ 485 w 485"/>
                <a:gd name="T43" fmla="*/ 292 h 496"/>
                <a:gd name="T44" fmla="*/ 485 w 485"/>
                <a:gd name="T45" fmla="*/ 264 h 496"/>
                <a:gd name="T46" fmla="*/ 426 w 485"/>
                <a:gd name="T47" fmla="*/ 155 h 496"/>
                <a:gd name="T48" fmla="*/ 426 w 485"/>
                <a:gd name="T49" fmla="*/ 155 h 496"/>
                <a:gd name="T50" fmla="*/ 362 w 485"/>
                <a:gd name="T51" fmla="*/ 113 h 496"/>
                <a:gd name="T52" fmla="*/ 329 w 485"/>
                <a:gd name="T53" fmla="*/ 51 h 496"/>
                <a:gd name="T54" fmla="*/ 329 w 485"/>
                <a:gd name="T55" fmla="*/ 46 h 496"/>
                <a:gd name="T56" fmla="*/ 329 w 485"/>
                <a:gd name="T57" fmla="*/ 0 h 496"/>
                <a:gd name="T58" fmla="*/ 299 w 485"/>
                <a:gd name="T59" fmla="*/ 35 h 496"/>
                <a:gd name="T60" fmla="*/ 242 w 485"/>
                <a:gd name="T61" fmla="*/ 64 h 496"/>
                <a:gd name="T62" fmla="*/ 185 w 485"/>
                <a:gd name="T63" fmla="*/ 35 h 496"/>
                <a:gd name="T64" fmla="*/ 156 w 485"/>
                <a:gd name="T65" fmla="*/ 1 h 496"/>
                <a:gd name="T66" fmla="*/ 156 w 485"/>
                <a:gd name="T67" fmla="*/ 51 h 496"/>
                <a:gd name="T68" fmla="*/ 123 w 485"/>
                <a:gd name="T69" fmla="*/ 113 h 496"/>
                <a:gd name="T70" fmla="*/ 123 w 485"/>
                <a:gd name="T71" fmla="*/ 113 h 496"/>
                <a:gd name="T72" fmla="*/ 59 w 485"/>
                <a:gd name="T73" fmla="*/ 155 h 496"/>
                <a:gd name="T74" fmla="*/ 59 w 485"/>
                <a:gd name="T75" fmla="*/ 155 h 496"/>
                <a:gd name="T76" fmla="*/ 0 w 485"/>
                <a:gd name="T77" fmla="*/ 264 h 496"/>
                <a:gd name="T78" fmla="*/ 0 w 485"/>
                <a:gd name="T79" fmla="*/ 496 h 496"/>
                <a:gd name="T80" fmla="*/ 468 w 485"/>
                <a:gd name="T81" fmla="*/ 494 h 496"/>
                <a:gd name="T82" fmla="*/ 468 w 485"/>
                <a:gd name="T83" fmla="*/ 46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496">
                  <a:moveTo>
                    <a:pt x="468" y="461"/>
                  </a:moveTo>
                  <a:lnTo>
                    <a:pt x="34" y="462"/>
                  </a:lnTo>
                  <a:lnTo>
                    <a:pt x="33" y="264"/>
                  </a:lnTo>
                  <a:cubicBezTo>
                    <a:pt x="33" y="231"/>
                    <a:pt x="50" y="201"/>
                    <a:pt x="77" y="183"/>
                  </a:cubicBezTo>
                  <a:lnTo>
                    <a:pt x="77" y="183"/>
                  </a:lnTo>
                  <a:lnTo>
                    <a:pt x="141" y="141"/>
                  </a:lnTo>
                  <a:lnTo>
                    <a:pt x="141" y="141"/>
                  </a:lnTo>
                  <a:cubicBezTo>
                    <a:pt x="171" y="121"/>
                    <a:pt x="189" y="87"/>
                    <a:pt x="189" y="51"/>
                  </a:cubicBezTo>
                  <a:lnTo>
                    <a:pt x="189" y="46"/>
                  </a:lnTo>
                  <a:lnTo>
                    <a:pt x="173" y="46"/>
                  </a:lnTo>
                  <a:lnTo>
                    <a:pt x="160" y="57"/>
                  </a:lnTo>
                  <a:cubicBezTo>
                    <a:pt x="181" y="82"/>
                    <a:pt x="210" y="98"/>
                    <a:pt x="242" y="98"/>
                  </a:cubicBezTo>
                  <a:cubicBezTo>
                    <a:pt x="275" y="98"/>
                    <a:pt x="304" y="82"/>
                    <a:pt x="325" y="57"/>
                  </a:cubicBezTo>
                  <a:lnTo>
                    <a:pt x="312" y="46"/>
                  </a:lnTo>
                  <a:lnTo>
                    <a:pt x="295" y="46"/>
                  </a:lnTo>
                  <a:lnTo>
                    <a:pt x="295" y="51"/>
                  </a:lnTo>
                  <a:cubicBezTo>
                    <a:pt x="295" y="87"/>
                    <a:pt x="313" y="121"/>
                    <a:pt x="343" y="141"/>
                  </a:cubicBezTo>
                  <a:lnTo>
                    <a:pt x="408" y="183"/>
                  </a:lnTo>
                  <a:lnTo>
                    <a:pt x="408" y="183"/>
                  </a:lnTo>
                  <a:cubicBezTo>
                    <a:pt x="435" y="201"/>
                    <a:pt x="451" y="231"/>
                    <a:pt x="452" y="264"/>
                  </a:cubicBezTo>
                  <a:lnTo>
                    <a:pt x="452" y="292"/>
                  </a:lnTo>
                  <a:lnTo>
                    <a:pt x="485" y="292"/>
                  </a:lnTo>
                  <a:lnTo>
                    <a:pt x="485" y="264"/>
                  </a:lnTo>
                  <a:cubicBezTo>
                    <a:pt x="485" y="220"/>
                    <a:pt x="463" y="179"/>
                    <a:pt x="426" y="155"/>
                  </a:cubicBezTo>
                  <a:lnTo>
                    <a:pt x="426" y="155"/>
                  </a:lnTo>
                  <a:lnTo>
                    <a:pt x="362" y="113"/>
                  </a:lnTo>
                  <a:cubicBezTo>
                    <a:pt x="341" y="99"/>
                    <a:pt x="329" y="76"/>
                    <a:pt x="329" y="51"/>
                  </a:cubicBezTo>
                  <a:lnTo>
                    <a:pt x="329" y="46"/>
                  </a:lnTo>
                  <a:lnTo>
                    <a:pt x="329" y="0"/>
                  </a:lnTo>
                  <a:lnTo>
                    <a:pt x="299" y="35"/>
                  </a:lnTo>
                  <a:cubicBezTo>
                    <a:pt x="283" y="54"/>
                    <a:pt x="263" y="64"/>
                    <a:pt x="242" y="64"/>
                  </a:cubicBezTo>
                  <a:cubicBezTo>
                    <a:pt x="221" y="64"/>
                    <a:pt x="202" y="54"/>
                    <a:pt x="185" y="35"/>
                  </a:cubicBezTo>
                  <a:lnTo>
                    <a:pt x="156" y="1"/>
                  </a:lnTo>
                  <a:lnTo>
                    <a:pt x="156" y="51"/>
                  </a:lnTo>
                  <a:cubicBezTo>
                    <a:pt x="156" y="76"/>
                    <a:pt x="143" y="99"/>
                    <a:pt x="123" y="113"/>
                  </a:cubicBezTo>
                  <a:lnTo>
                    <a:pt x="123" y="113"/>
                  </a:lnTo>
                  <a:lnTo>
                    <a:pt x="59" y="155"/>
                  </a:lnTo>
                  <a:lnTo>
                    <a:pt x="59" y="155"/>
                  </a:lnTo>
                  <a:cubicBezTo>
                    <a:pt x="22" y="179"/>
                    <a:pt x="0" y="220"/>
                    <a:pt x="0" y="264"/>
                  </a:cubicBezTo>
                  <a:lnTo>
                    <a:pt x="0" y="496"/>
                  </a:lnTo>
                  <a:lnTo>
                    <a:pt x="468" y="494"/>
                  </a:lnTo>
                  <a:lnTo>
                    <a:pt x="468" y="461"/>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196">
              <a:extLst>
                <a:ext uri="{FF2B5EF4-FFF2-40B4-BE49-F238E27FC236}">
                  <a16:creationId xmlns:a16="http://schemas.microsoft.com/office/drawing/2014/main" id="{8324EDA1-41A4-49F3-90EF-063BDFCF67E8}"/>
                </a:ext>
              </a:extLst>
            </p:cNvPr>
            <p:cNvSpPr>
              <a:spLocks/>
            </p:cNvSpPr>
            <p:nvPr/>
          </p:nvSpPr>
          <p:spPr bwMode="auto">
            <a:xfrm>
              <a:off x="4294188" y="6477000"/>
              <a:ext cx="50800" cy="38100"/>
            </a:xfrm>
            <a:custGeom>
              <a:avLst/>
              <a:gdLst>
                <a:gd name="T0" fmla="*/ 231 w 248"/>
                <a:gd name="T1" fmla="*/ 17 h 180"/>
                <a:gd name="T2" fmla="*/ 215 w 248"/>
                <a:gd name="T3" fmla="*/ 17 h 180"/>
                <a:gd name="T4" fmla="*/ 181 w 248"/>
                <a:gd name="T5" fmla="*/ 117 h 180"/>
                <a:gd name="T6" fmla="*/ 181 w 248"/>
                <a:gd name="T7" fmla="*/ 117 h 180"/>
                <a:gd name="T8" fmla="*/ 124 w 248"/>
                <a:gd name="T9" fmla="*/ 146 h 180"/>
                <a:gd name="T10" fmla="*/ 67 w 248"/>
                <a:gd name="T11" fmla="*/ 117 h 180"/>
                <a:gd name="T12" fmla="*/ 67 w 248"/>
                <a:gd name="T13" fmla="*/ 117 h 180"/>
                <a:gd name="T14" fmla="*/ 34 w 248"/>
                <a:gd name="T15" fmla="*/ 17 h 180"/>
                <a:gd name="T16" fmla="*/ 17 w 248"/>
                <a:gd name="T17" fmla="*/ 17 h 180"/>
                <a:gd name="T18" fmla="*/ 17 w 248"/>
                <a:gd name="T19" fmla="*/ 33 h 180"/>
                <a:gd name="T20" fmla="*/ 231 w 248"/>
                <a:gd name="T21" fmla="*/ 33 h 180"/>
                <a:gd name="T22" fmla="*/ 231 w 248"/>
                <a:gd name="T23" fmla="*/ 17 h 180"/>
                <a:gd name="T24" fmla="*/ 215 w 248"/>
                <a:gd name="T25" fmla="*/ 17 h 180"/>
                <a:gd name="T26" fmla="*/ 231 w 248"/>
                <a:gd name="T27" fmla="*/ 17 h 180"/>
                <a:gd name="T28" fmla="*/ 231 w 248"/>
                <a:gd name="T29" fmla="*/ 0 h 180"/>
                <a:gd name="T30" fmla="*/ 0 w 248"/>
                <a:gd name="T31" fmla="*/ 0 h 180"/>
                <a:gd name="T32" fmla="*/ 0 w 248"/>
                <a:gd name="T33" fmla="*/ 17 h 180"/>
                <a:gd name="T34" fmla="*/ 42 w 248"/>
                <a:gd name="T35" fmla="*/ 139 h 180"/>
                <a:gd name="T36" fmla="*/ 42 w 248"/>
                <a:gd name="T37" fmla="*/ 139 h 180"/>
                <a:gd name="T38" fmla="*/ 124 w 248"/>
                <a:gd name="T39" fmla="*/ 180 h 180"/>
                <a:gd name="T40" fmla="*/ 207 w 248"/>
                <a:gd name="T41" fmla="*/ 139 h 180"/>
                <a:gd name="T42" fmla="*/ 207 w 248"/>
                <a:gd name="T43" fmla="*/ 139 h 180"/>
                <a:gd name="T44" fmla="*/ 248 w 248"/>
                <a:gd name="T45" fmla="*/ 17 h 180"/>
                <a:gd name="T46" fmla="*/ 248 w 248"/>
                <a:gd name="T47" fmla="*/ 0 h 180"/>
                <a:gd name="T48" fmla="*/ 231 w 248"/>
                <a:gd name="T49" fmla="*/ 0 h 180"/>
                <a:gd name="T50" fmla="*/ 231 w 248"/>
                <a:gd name="T51"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180">
                  <a:moveTo>
                    <a:pt x="231" y="17"/>
                  </a:moveTo>
                  <a:lnTo>
                    <a:pt x="215" y="17"/>
                  </a:lnTo>
                  <a:cubicBezTo>
                    <a:pt x="215" y="58"/>
                    <a:pt x="201" y="94"/>
                    <a:pt x="181" y="117"/>
                  </a:cubicBezTo>
                  <a:lnTo>
                    <a:pt x="181" y="117"/>
                  </a:lnTo>
                  <a:cubicBezTo>
                    <a:pt x="165" y="136"/>
                    <a:pt x="145" y="146"/>
                    <a:pt x="124" y="146"/>
                  </a:cubicBezTo>
                  <a:cubicBezTo>
                    <a:pt x="103" y="146"/>
                    <a:pt x="84" y="136"/>
                    <a:pt x="67" y="117"/>
                  </a:cubicBezTo>
                  <a:lnTo>
                    <a:pt x="67" y="117"/>
                  </a:lnTo>
                  <a:cubicBezTo>
                    <a:pt x="47" y="94"/>
                    <a:pt x="34" y="58"/>
                    <a:pt x="34" y="17"/>
                  </a:cubicBezTo>
                  <a:lnTo>
                    <a:pt x="17" y="17"/>
                  </a:lnTo>
                  <a:lnTo>
                    <a:pt x="17" y="33"/>
                  </a:lnTo>
                  <a:lnTo>
                    <a:pt x="231" y="33"/>
                  </a:lnTo>
                  <a:lnTo>
                    <a:pt x="231" y="17"/>
                  </a:lnTo>
                  <a:lnTo>
                    <a:pt x="215" y="17"/>
                  </a:lnTo>
                  <a:lnTo>
                    <a:pt x="231" y="17"/>
                  </a:lnTo>
                  <a:lnTo>
                    <a:pt x="231" y="0"/>
                  </a:lnTo>
                  <a:lnTo>
                    <a:pt x="0" y="0"/>
                  </a:lnTo>
                  <a:lnTo>
                    <a:pt x="0" y="17"/>
                  </a:lnTo>
                  <a:cubicBezTo>
                    <a:pt x="0" y="65"/>
                    <a:pt x="16" y="109"/>
                    <a:pt x="42" y="139"/>
                  </a:cubicBezTo>
                  <a:lnTo>
                    <a:pt x="42" y="139"/>
                  </a:lnTo>
                  <a:cubicBezTo>
                    <a:pt x="63" y="164"/>
                    <a:pt x="92" y="180"/>
                    <a:pt x="124" y="180"/>
                  </a:cubicBezTo>
                  <a:cubicBezTo>
                    <a:pt x="157" y="180"/>
                    <a:pt x="186" y="164"/>
                    <a:pt x="207" y="139"/>
                  </a:cubicBezTo>
                  <a:lnTo>
                    <a:pt x="207" y="139"/>
                  </a:lnTo>
                  <a:cubicBezTo>
                    <a:pt x="233" y="108"/>
                    <a:pt x="248" y="65"/>
                    <a:pt x="248" y="17"/>
                  </a:cubicBezTo>
                  <a:lnTo>
                    <a:pt x="248" y="0"/>
                  </a:lnTo>
                  <a:lnTo>
                    <a:pt x="231" y="0"/>
                  </a:lnTo>
                  <a:lnTo>
                    <a:pt x="231"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197">
              <a:extLst>
                <a:ext uri="{FF2B5EF4-FFF2-40B4-BE49-F238E27FC236}">
                  <a16:creationId xmlns:a16="http://schemas.microsoft.com/office/drawing/2014/main" id="{A47D0C3B-8C15-4340-BBA8-D5F3B0CCE1D4}"/>
                </a:ext>
              </a:extLst>
            </p:cNvPr>
            <p:cNvSpPr>
              <a:spLocks/>
            </p:cNvSpPr>
            <p:nvPr/>
          </p:nvSpPr>
          <p:spPr bwMode="auto">
            <a:xfrm>
              <a:off x="4284663" y="6440488"/>
              <a:ext cx="69850" cy="44450"/>
            </a:xfrm>
            <a:custGeom>
              <a:avLst/>
              <a:gdLst>
                <a:gd name="T0" fmla="*/ 326 w 342"/>
                <a:gd name="T1" fmla="*/ 196 h 213"/>
                <a:gd name="T2" fmla="*/ 326 w 342"/>
                <a:gd name="T3" fmla="*/ 179 h 213"/>
                <a:gd name="T4" fmla="*/ 16 w 342"/>
                <a:gd name="T5" fmla="*/ 179 h 213"/>
                <a:gd name="T6" fmla="*/ 16 w 342"/>
                <a:gd name="T7" fmla="*/ 196 h 213"/>
                <a:gd name="T8" fmla="*/ 33 w 342"/>
                <a:gd name="T9" fmla="*/ 196 h 213"/>
                <a:gd name="T10" fmla="*/ 74 w 342"/>
                <a:gd name="T11" fmla="*/ 80 h 213"/>
                <a:gd name="T12" fmla="*/ 171 w 342"/>
                <a:gd name="T13" fmla="*/ 34 h 213"/>
                <a:gd name="T14" fmla="*/ 268 w 342"/>
                <a:gd name="T15" fmla="*/ 80 h 213"/>
                <a:gd name="T16" fmla="*/ 309 w 342"/>
                <a:gd name="T17" fmla="*/ 196 h 213"/>
                <a:gd name="T18" fmla="*/ 326 w 342"/>
                <a:gd name="T19" fmla="*/ 196 h 213"/>
                <a:gd name="T20" fmla="*/ 326 w 342"/>
                <a:gd name="T21" fmla="*/ 179 h 213"/>
                <a:gd name="T22" fmla="*/ 326 w 342"/>
                <a:gd name="T23" fmla="*/ 196 h 213"/>
                <a:gd name="T24" fmla="*/ 342 w 342"/>
                <a:gd name="T25" fmla="*/ 196 h 213"/>
                <a:gd name="T26" fmla="*/ 293 w 342"/>
                <a:gd name="T27" fmla="*/ 58 h 213"/>
                <a:gd name="T28" fmla="*/ 171 w 342"/>
                <a:gd name="T29" fmla="*/ 0 h 213"/>
                <a:gd name="T30" fmla="*/ 49 w 342"/>
                <a:gd name="T31" fmla="*/ 58 h 213"/>
                <a:gd name="T32" fmla="*/ 0 w 342"/>
                <a:gd name="T33" fmla="*/ 196 h 213"/>
                <a:gd name="T34" fmla="*/ 0 w 342"/>
                <a:gd name="T35" fmla="*/ 213 h 213"/>
                <a:gd name="T36" fmla="*/ 342 w 342"/>
                <a:gd name="T37" fmla="*/ 212 h 213"/>
                <a:gd name="T38" fmla="*/ 342 w 342"/>
                <a:gd name="T39" fmla="*/ 196 h 213"/>
                <a:gd name="T40" fmla="*/ 326 w 342"/>
                <a:gd name="T41"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2" h="213">
                  <a:moveTo>
                    <a:pt x="326" y="196"/>
                  </a:moveTo>
                  <a:lnTo>
                    <a:pt x="326" y="179"/>
                  </a:lnTo>
                  <a:lnTo>
                    <a:pt x="16" y="179"/>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326" y="196"/>
                  </a:lnTo>
                  <a:lnTo>
                    <a:pt x="342" y="196"/>
                  </a:lnTo>
                  <a:cubicBezTo>
                    <a:pt x="342" y="142"/>
                    <a:pt x="324" y="94"/>
                    <a:pt x="293" y="58"/>
                  </a:cubicBezTo>
                  <a:cubicBezTo>
                    <a:pt x="262" y="23"/>
                    <a:pt x="219" y="0"/>
                    <a:pt x="171" y="0"/>
                  </a:cubicBezTo>
                  <a:cubicBezTo>
                    <a:pt x="123" y="0"/>
                    <a:pt x="80" y="23"/>
                    <a:pt x="49" y="58"/>
                  </a:cubicBezTo>
                  <a:cubicBezTo>
                    <a:pt x="18" y="94"/>
                    <a:pt x="0" y="143"/>
                    <a:pt x="0" y="196"/>
                  </a:cubicBezTo>
                  <a:lnTo>
                    <a:pt x="0" y="213"/>
                  </a:lnTo>
                  <a:lnTo>
                    <a:pt x="342" y="212"/>
                  </a:lnTo>
                  <a:lnTo>
                    <a:pt x="342" y="196"/>
                  </a:lnTo>
                  <a:lnTo>
                    <a:pt x="32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198">
              <a:extLst>
                <a:ext uri="{FF2B5EF4-FFF2-40B4-BE49-F238E27FC236}">
                  <a16:creationId xmlns:a16="http://schemas.microsoft.com/office/drawing/2014/main" id="{525D0366-935C-47D2-AD36-9EF34BC6BC84}"/>
                </a:ext>
              </a:extLst>
            </p:cNvPr>
            <p:cNvSpPr>
              <a:spLocks/>
            </p:cNvSpPr>
            <p:nvPr/>
          </p:nvSpPr>
          <p:spPr bwMode="auto">
            <a:xfrm>
              <a:off x="43164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199">
              <a:extLst>
                <a:ext uri="{FF2B5EF4-FFF2-40B4-BE49-F238E27FC236}">
                  <a16:creationId xmlns:a16="http://schemas.microsoft.com/office/drawing/2014/main" id="{D8E922D3-4B05-482A-8A78-BA6E1C1EAD77}"/>
                </a:ext>
              </a:extLst>
            </p:cNvPr>
            <p:cNvSpPr>
              <a:spLocks/>
            </p:cNvSpPr>
            <p:nvPr/>
          </p:nvSpPr>
          <p:spPr bwMode="auto">
            <a:xfrm>
              <a:off x="4292601" y="6535738"/>
              <a:ext cx="53975" cy="60325"/>
            </a:xfrm>
            <a:custGeom>
              <a:avLst/>
              <a:gdLst>
                <a:gd name="T0" fmla="*/ 187 w 264"/>
                <a:gd name="T1" fmla="*/ 260 h 293"/>
                <a:gd name="T2" fmla="*/ 35 w 264"/>
                <a:gd name="T3" fmla="*/ 260 h 293"/>
                <a:gd name="T4" fmla="*/ 45 w 264"/>
                <a:gd name="T5" fmla="*/ 57 h 293"/>
                <a:gd name="T6" fmla="*/ 45 w 264"/>
                <a:gd name="T7" fmla="*/ 56 h 293"/>
                <a:gd name="T8" fmla="*/ 68 w 264"/>
                <a:gd name="T9" fmla="*/ 33 h 293"/>
                <a:gd name="T10" fmla="*/ 203 w 264"/>
                <a:gd name="T11" fmla="*/ 33 h 293"/>
                <a:gd name="T12" fmla="*/ 226 w 264"/>
                <a:gd name="T13" fmla="*/ 56 h 293"/>
                <a:gd name="T14" fmla="*/ 226 w 264"/>
                <a:gd name="T15" fmla="*/ 57 h 293"/>
                <a:gd name="T16" fmla="*/ 230 w 264"/>
                <a:gd name="T17" fmla="*/ 147 h 293"/>
                <a:gd name="T18" fmla="*/ 264 w 264"/>
                <a:gd name="T19" fmla="*/ 146 h 293"/>
                <a:gd name="T20" fmla="*/ 259 w 264"/>
                <a:gd name="T21" fmla="*/ 55 h 293"/>
                <a:gd name="T22" fmla="*/ 243 w 264"/>
                <a:gd name="T23" fmla="*/ 56 h 293"/>
                <a:gd name="T24" fmla="*/ 259 w 264"/>
                <a:gd name="T25" fmla="*/ 56 h 293"/>
                <a:gd name="T26" fmla="*/ 203 w 264"/>
                <a:gd name="T27" fmla="*/ 0 h 293"/>
                <a:gd name="T28" fmla="*/ 68 w 264"/>
                <a:gd name="T29" fmla="*/ 0 h 293"/>
                <a:gd name="T30" fmla="*/ 11 w 264"/>
                <a:gd name="T31" fmla="*/ 56 h 293"/>
                <a:gd name="T32" fmla="*/ 28 w 264"/>
                <a:gd name="T33" fmla="*/ 56 h 293"/>
                <a:gd name="T34" fmla="*/ 12 w 264"/>
                <a:gd name="T35" fmla="*/ 55 h 293"/>
                <a:gd name="T36" fmla="*/ 0 w 264"/>
                <a:gd name="T37" fmla="*/ 293 h 293"/>
                <a:gd name="T38" fmla="*/ 187 w 264"/>
                <a:gd name="T39" fmla="*/ 293 h 293"/>
                <a:gd name="T40" fmla="*/ 187 w 264"/>
                <a:gd name="T41" fmla="*/ 26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293">
                  <a:moveTo>
                    <a:pt x="187" y="260"/>
                  </a:moveTo>
                  <a:lnTo>
                    <a:pt x="35" y="260"/>
                  </a:lnTo>
                  <a:lnTo>
                    <a:pt x="45" y="57"/>
                  </a:lnTo>
                  <a:lnTo>
                    <a:pt x="45" y="56"/>
                  </a:lnTo>
                  <a:cubicBezTo>
                    <a:pt x="45" y="43"/>
                    <a:pt x="55" y="33"/>
                    <a:pt x="68" y="33"/>
                  </a:cubicBezTo>
                  <a:lnTo>
                    <a:pt x="203" y="33"/>
                  </a:lnTo>
                  <a:cubicBezTo>
                    <a:pt x="216" y="33"/>
                    <a:pt x="226" y="43"/>
                    <a:pt x="226" y="56"/>
                  </a:cubicBezTo>
                  <a:lnTo>
                    <a:pt x="226" y="57"/>
                  </a:lnTo>
                  <a:lnTo>
                    <a:pt x="230" y="147"/>
                  </a:lnTo>
                  <a:lnTo>
                    <a:pt x="264" y="146"/>
                  </a:lnTo>
                  <a:lnTo>
                    <a:pt x="259" y="55"/>
                  </a:lnTo>
                  <a:lnTo>
                    <a:pt x="243" y="56"/>
                  </a:lnTo>
                  <a:lnTo>
                    <a:pt x="259" y="56"/>
                  </a:lnTo>
                  <a:cubicBezTo>
                    <a:pt x="259" y="25"/>
                    <a:pt x="234" y="0"/>
                    <a:pt x="203" y="0"/>
                  </a:cubicBezTo>
                  <a:lnTo>
                    <a:pt x="68" y="0"/>
                  </a:lnTo>
                  <a:cubicBezTo>
                    <a:pt x="37" y="0"/>
                    <a:pt x="11" y="25"/>
                    <a:pt x="11" y="56"/>
                  </a:cubicBezTo>
                  <a:lnTo>
                    <a:pt x="28" y="56"/>
                  </a:lnTo>
                  <a:lnTo>
                    <a:pt x="12" y="55"/>
                  </a:lnTo>
                  <a:lnTo>
                    <a:pt x="0" y="293"/>
                  </a:lnTo>
                  <a:lnTo>
                    <a:pt x="187" y="293"/>
                  </a:lnTo>
                  <a:lnTo>
                    <a:pt x="187" y="26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200">
              <a:extLst>
                <a:ext uri="{FF2B5EF4-FFF2-40B4-BE49-F238E27FC236}">
                  <a16:creationId xmlns:a16="http://schemas.microsoft.com/office/drawing/2014/main" id="{7E873575-688C-4C27-ABCC-DB8131901EE2}"/>
                </a:ext>
              </a:extLst>
            </p:cNvPr>
            <p:cNvSpPr>
              <a:spLocks/>
            </p:cNvSpPr>
            <p:nvPr/>
          </p:nvSpPr>
          <p:spPr bwMode="auto">
            <a:xfrm>
              <a:off x="4292601" y="6521450"/>
              <a:ext cx="14288" cy="19050"/>
            </a:xfrm>
            <a:custGeom>
              <a:avLst/>
              <a:gdLst>
                <a:gd name="T0" fmla="*/ 0 w 71"/>
                <a:gd name="T1" fmla="*/ 15 h 99"/>
                <a:gd name="T2" fmla="*/ 41 w 71"/>
                <a:gd name="T3" fmla="*/ 99 h 99"/>
                <a:gd name="T4" fmla="*/ 71 w 71"/>
                <a:gd name="T5" fmla="*/ 84 h 99"/>
                <a:gd name="T6" fmla="*/ 30 w 71"/>
                <a:gd name="T7" fmla="*/ 0 h 99"/>
              </a:gdLst>
              <a:ahLst/>
              <a:cxnLst>
                <a:cxn ang="0">
                  <a:pos x="T0" y="T1"/>
                </a:cxn>
                <a:cxn ang="0">
                  <a:pos x="T2" y="T3"/>
                </a:cxn>
                <a:cxn ang="0">
                  <a:pos x="T4" y="T5"/>
                </a:cxn>
                <a:cxn ang="0">
                  <a:pos x="T6" y="T7"/>
                </a:cxn>
              </a:cxnLst>
              <a:rect l="0" t="0" r="r" b="b"/>
              <a:pathLst>
                <a:path w="71" h="99">
                  <a:moveTo>
                    <a:pt x="0" y="15"/>
                  </a:moveTo>
                  <a:lnTo>
                    <a:pt x="41" y="99"/>
                  </a:lnTo>
                  <a:lnTo>
                    <a:pt x="71"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201">
              <a:extLst>
                <a:ext uri="{FF2B5EF4-FFF2-40B4-BE49-F238E27FC236}">
                  <a16:creationId xmlns:a16="http://schemas.microsoft.com/office/drawing/2014/main" id="{AFEA1EB4-9C8F-48E1-9F5C-33D6F43EA9B0}"/>
                </a:ext>
              </a:extLst>
            </p:cNvPr>
            <p:cNvSpPr>
              <a:spLocks/>
            </p:cNvSpPr>
            <p:nvPr/>
          </p:nvSpPr>
          <p:spPr bwMode="auto">
            <a:xfrm>
              <a:off x="4332288" y="6521450"/>
              <a:ext cx="14288" cy="19050"/>
            </a:xfrm>
            <a:custGeom>
              <a:avLst/>
              <a:gdLst>
                <a:gd name="T0" fmla="*/ 42 w 72"/>
                <a:gd name="T1" fmla="*/ 0 h 99"/>
                <a:gd name="T2" fmla="*/ 0 w 72"/>
                <a:gd name="T3" fmla="*/ 84 h 99"/>
                <a:gd name="T4" fmla="*/ 30 w 72"/>
                <a:gd name="T5" fmla="*/ 99 h 99"/>
                <a:gd name="T6" fmla="*/ 72 w 72"/>
                <a:gd name="T7" fmla="*/ 14 h 99"/>
              </a:gdLst>
              <a:ahLst/>
              <a:cxnLst>
                <a:cxn ang="0">
                  <a:pos x="T0" y="T1"/>
                </a:cxn>
                <a:cxn ang="0">
                  <a:pos x="T2" y="T3"/>
                </a:cxn>
                <a:cxn ang="0">
                  <a:pos x="T4" y="T5"/>
                </a:cxn>
                <a:cxn ang="0">
                  <a:pos x="T6" y="T7"/>
                </a:cxn>
              </a:cxnLst>
              <a:rect l="0" t="0" r="r" b="b"/>
              <a:pathLst>
                <a:path w="72" h="99">
                  <a:moveTo>
                    <a:pt x="42" y="0"/>
                  </a:moveTo>
                  <a:lnTo>
                    <a:pt x="0" y="84"/>
                  </a:lnTo>
                  <a:lnTo>
                    <a:pt x="30" y="99"/>
                  </a:lnTo>
                  <a:lnTo>
                    <a:pt x="72" y="1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202">
              <a:extLst>
                <a:ext uri="{FF2B5EF4-FFF2-40B4-BE49-F238E27FC236}">
                  <a16:creationId xmlns:a16="http://schemas.microsoft.com/office/drawing/2014/main" id="{BF7DDA51-ACCA-4CB9-B87B-72CFACB71F64}"/>
                </a:ext>
              </a:extLst>
            </p:cNvPr>
            <p:cNvSpPr>
              <a:spLocks/>
            </p:cNvSpPr>
            <p:nvPr/>
          </p:nvSpPr>
          <p:spPr bwMode="auto">
            <a:xfrm>
              <a:off x="4316413" y="6562725"/>
              <a:ext cx="79375" cy="33338"/>
            </a:xfrm>
            <a:custGeom>
              <a:avLst/>
              <a:gdLst>
                <a:gd name="T0" fmla="*/ 48 w 50"/>
                <a:gd name="T1" fmla="*/ 19 h 21"/>
                <a:gd name="T2" fmla="*/ 48 w 50"/>
                <a:gd name="T3" fmla="*/ 17 h 21"/>
                <a:gd name="T4" fmla="*/ 4 w 50"/>
                <a:gd name="T5" fmla="*/ 17 h 21"/>
                <a:gd name="T6" fmla="*/ 4 w 50"/>
                <a:gd name="T7" fmla="*/ 4 h 21"/>
                <a:gd name="T8" fmla="*/ 46 w 50"/>
                <a:gd name="T9" fmla="*/ 4 h 21"/>
                <a:gd name="T10" fmla="*/ 46 w 50"/>
                <a:gd name="T11" fmla="*/ 19 h 21"/>
                <a:gd name="T12" fmla="*/ 48 w 50"/>
                <a:gd name="T13" fmla="*/ 19 h 21"/>
                <a:gd name="T14" fmla="*/ 48 w 50"/>
                <a:gd name="T15" fmla="*/ 17 h 21"/>
                <a:gd name="T16" fmla="*/ 48 w 50"/>
                <a:gd name="T17" fmla="*/ 19 h 21"/>
                <a:gd name="T18" fmla="*/ 50 w 50"/>
                <a:gd name="T19" fmla="*/ 19 h 21"/>
                <a:gd name="T20" fmla="*/ 50 w 50"/>
                <a:gd name="T21" fmla="*/ 0 h 21"/>
                <a:gd name="T22" fmla="*/ 0 w 50"/>
                <a:gd name="T23" fmla="*/ 0 h 21"/>
                <a:gd name="T24" fmla="*/ 0 w 50"/>
                <a:gd name="T25" fmla="*/ 21 h 21"/>
                <a:gd name="T26" fmla="*/ 50 w 50"/>
                <a:gd name="T27" fmla="*/ 21 h 21"/>
                <a:gd name="T28" fmla="*/ 50 w 50"/>
                <a:gd name="T29" fmla="*/ 19 h 21"/>
                <a:gd name="T30" fmla="*/ 48 w 50"/>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21">
                  <a:moveTo>
                    <a:pt x="48" y="19"/>
                  </a:moveTo>
                  <a:lnTo>
                    <a:pt x="48" y="17"/>
                  </a:lnTo>
                  <a:lnTo>
                    <a:pt x="4" y="17"/>
                  </a:lnTo>
                  <a:lnTo>
                    <a:pt x="4" y="4"/>
                  </a:lnTo>
                  <a:lnTo>
                    <a:pt x="46" y="4"/>
                  </a:lnTo>
                  <a:lnTo>
                    <a:pt x="46" y="19"/>
                  </a:lnTo>
                  <a:lnTo>
                    <a:pt x="48" y="19"/>
                  </a:lnTo>
                  <a:lnTo>
                    <a:pt x="48" y="17"/>
                  </a:lnTo>
                  <a:lnTo>
                    <a:pt x="48" y="19"/>
                  </a:lnTo>
                  <a:lnTo>
                    <a:pt x="50" y="19"/>
                  </a:lnTo>
                  <a:lnTo>
                    <a:pt x="50" y="0"/>
                  </a:lnTo>
                  <a:lnTo>
                    <a:pt x="0" y="0"/>
                  </a:lnTo>
                  <a:lnTo>
                    <a:pt x="0" y="21"/>
                  </a:lnTo>
                  <a:lnTo>
                    <a:pt x="50" y="21"/>
                  </a:lnTo>
                  <a:lnTo>
                    <a:pt x="50" y="19"/>
                  </a:lnTo>
                  <a:lnTo>
                    <a:pt x="48" y="19"/>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203">
              <a:extLst>
                <a:ext uri="{FF2B5EF4-FFF2-40B4-BE49-F238E27FC236}">
                  <a16:creationId xmlns:a16="http://schemas.microsoft.com/office/drawing/2014/main" id="{A84759BD-8D23-4310-AB31-5374D1C3489C}"/>
                </a:ext>
              </a:extLst>
            </p:cNvPr>
            <p:cNvSpPr>
              <a:spLocks/>
            </p:cNvSpPr>
            <p:nvPr/>
          </p:nvSpPr>
          <p:spPr bwMode="auto">
            <a:xfrm>
              <a:off x="4422776" y="6551613"/>
              <a:ext cx="50800" cy="44450"/>
            </a:xfrm>
            <a:custGeom>
              <a:avLst/>
              <a:gdLst>
                <a:gd name="T0" fmla="*/ 30 w 32"/>
                <a:gd name="T1" fmla="*/ 26 h 28"/>
                <a:gd name="T2" fmla="*/ 30 w 32"/>
                <a:gd name="T3" fmla="*/ 24 h 28"/>
                <a:gd name="T4" fmla="*/ 4 w 32"/>
                <a:gd name="T5" fmla="*/ 24 h 28"/>
                <a:gd name="T6" fmla="*/ 4 w 32"/>
                <a:gd name="T7" fmla="*/ 5 h 28"/>
                <a:gd name="T8" fmla="*/ 28 w 32"/>
                <a:gd name="T9" fmla="*/ 5 h 28"/>
                <a:gd name="T10" fmla="*/ 28 w 32"/>
                <a:gd name="T11" fmla="*/ 26 h 28"/>
                <a:gd name="T12" fmla="*/ 30 w 32"/>
                <a:gd name="T13" fmla="*/ 26 h 28"/>
                <a:gd name="T14" fmla="*/ 30 w 32"/>
                <a:gd name="T15" fmla="*/ 24 h 28"/>
                <a:gd name="T16" fmla="*/ 30 w 32"/>
                <a:gd name="T17" fmla="*/ 26 h 28"/>
                <a:gd name="T18" fmla="*/ 32 w 32"/>
                <a:gd name="T19" fmla="*/ 26 h 28"/>
                <a:gd name="T20" fmla="*/ 32 w 32"/>
                <a:gd name="T21" fmla="*/ 0 h 28"/>
                <a:gd name="T22" fmla="*/ 0 w 32"/>
                <a:gd name="T23" fmla="*/ 0 h 28"/>
                <a:gd name="T24" fmla="*/ 0 w 32"/>
                <a:gd name="T25" fmla="*/ 28 h 28"/>
                <a:gd name="T26" fmla="*/ 32 w 32"/>
                <a:gd name="T27" fmla="*/ 28 h 28"/>
                <a:gd name="T28" fmla="*/ 32 w 32"/>
                <a:gd name="T29" fmla="*/ 26 h 28"/>
                <a:gd name="T30" fmla="*/ 30 w 32"/>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8">
                  <a:moveTo>
                    <a:pt x="30" y="26"/>
                  </a:moveTo>
                  <a:lnTo>
                    <a:pt x="30" y="24"/>
                  </a:lnTo>
                  <a:lnTo>
                    <a:pt x="4" y="24"/>
                  </a:lnTo>
                  <a:lnTo>
                    <a:pt x="4" y="5"/>
                  </a:lnTo>
                  <a:lnTo>
                    <a:pt x="28" y="5"/>
                  </a:lnTo>
                  <a:lnTo>
                    <a:pt x="28" y="26"/>
                  </a:lnTo>
                  <a:lnTo>
                    <a:pt x="30" y="26"/>
                  </a:lnTo>
                  <a:lnTo>
                    <a:pt x="30" y="24"/>
                  </a:lnTo>
                  <a:lnTo>
                    <a:pt x="30" y="26"/>
                  </a:lnTo>
                  <a:lnTo>
                    <a:pt x="32" y="26"/>
                  </a:lnTo>
                  <a:lnTo>
                    <a:pt x="32" y="0"/>
                  </a:lnTo>
                  <a:lnTo>
                    <a:pt x="0" y="0"/>
                  </a:lnTo>
                  <a:lnTo>
                    <a:pt x="0" y="28"/>
                  </a:lnTo>
                  <a:lnTo>
                    <a:pt x="32" y="28"/>
                  </a:lnTo>
                  <a:lnTo>
                    <a:pt x="32" y="26"/>
                  </a:lnTo>
                  <a:lnTo>
                    <a:pt x="30" y="2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204">
              <a:extLst>
                <a:ext uri="{FF2B5EF4-FFF2-40B4-BE49-F238E27FC236}">
                  <a16:creationId xmlns:a16="http://schemas.microsoft.com/office/drawing/2014/main" id="{8C179E37-A96A-4A84-B6E5-91C4D32315AB}"/>
                </a:ext>
              </a:extLst>
            </p:cNvPr>
            <p:cNvSpPr>
              <a:spLocks/>
            </p:cNvSpPr>
            <p:nvPr/>
          </p:nvSpPr>
          <p:spPr bwMode="auto">
            <a:xfrm>
              <a:off x="4292601" y="6627813"/>
              <a:ext cx="55563" cy="74613"/>
            </a:xfrm>
            <a:custGeom>
              <a:avLst/>
              <a:gdLst>
                <a:gd name="T0" fmla="*/ 0 w 35"/>
                <a:gd name="T1" fmla="*/ 0 h 47"/>
                <a:gd name="T2" fmla="*/ 0 w 35"/>
                <a:gd name="T3" fmla="*/ 47 h 47"/>
                <a:gd name="T4" fmla="*/ 35 w 35"/>
                <a:gd name="T5" fmla="*/ 47 h 47"/>
                <a:gd name="T6" fmla="*/ 35 w 35"/>
                <a:gd name="T7" fmla="*/ 0 h 47"/>
                <a:gd name="T8" fmla="*/ 30 w 35"/>
                <a:gd name="T9" fmla="*/ 0 h 47"/>
                <a:gd name="T10" fmla="*/ 30 w 35"/>
                <a:gd name="T11" fmla="*/ 43 h 47"/>
                <a:gd name="T12" fmla="*/ 4 w 35"/>
                <a:gd name="T13" fmla="*/ 43 h 47"/>
                <a:gd name="T14" fmla="*/ 4 w 35"/>
                <a:gd name="T15" fmla="*/ 0 h 47"/>
                <a:gd name="T16" fmla="*/ 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0" y="0"/>
                  </a:moveTo>
                  <a:lnTo>
                    <a:pt x="0" y="47"/>
                  </a:lnTo>
                  <a:lnTo>
                    <a:pt x="35" y="47"/>
                  </a:lnTo>
                  <a:lnTo>
                    <a:pt x="35" y="0"/>
                  </a:lnTo>
                  <a:lnTo>
                    <a:pt x="30" y="0"/>
                  </a:lnTo>
                  <a:lnTo>
                    <a:pt x="30" y="43"/>
                  </a:lnTo>
                  <a:lnTo>
                    <a:pt x="4" y="43"/>
                  </a:lnTo>
                  <a:lnTo>
                    <a:pt x="4" y="0"/>
                  </a:lnTo>
                  <a:lnTo>
                    <a:pt x="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206">
              <a:extLst>
                <a:ext uri="{FF2B5EF4-FFF2-40B4-BE49-F238E27FC236}">
                  <a16:creationId xmlns:a16="http://schemas.microsoft.com/office/drawing/2014/main" id="{3A1FD271-B0F8-4019-9557-D7C5562D1682}"/>
                </a:ext>
              </a:extLst>
            </p:cNvPr>
            <p:cNvSpPr>
              <a:spLocks/>
            </p:cNvSpPr>
            <p:nvPr/>
          </p:nvSpPr>
          <p:spPr bwMode="auto">
            <a:xfrm>
              <a:off x="4281488" y="6640513"/>
              <a:ext cx="41275" cy="84138"/>
            </a:xfrm>
            <a:custGeom>
              <a:avLst/>
              <a:gdLst>
                <a:gd name="T0" fmla="*/ 61 w 204"/>
                <a:gd name="T1" fmla="*/ 268 h 406"/>
                <a:gd name="T2" fmla="*/ 30 w 204"/>
                <a:gd name="T3" fmla="*/ 297 h 406"/>
                <a:gd name="T4" fmla="*/ 1 w 204"/>
                <a:gd name="T5" fmla="*/ 389 h 406"/>
                <a:gd name="T6" fmla="*/ 1 w 204"/>
                <a:gd name="T7" fmla="*/ 406 h 406"/>
                <a:gd name="T8" fmla="*/ 204 w 204"/>
                <a:gd name="T9" fmla="*/ 406 h 406"/>
                <a:gd name="T10" fmla="*/ 204 w 204"/>
                <a:gd name="T11" fmla="*/ 282 h 406"/>
                <a:gd name="T12" fmla="*/ 204 w 204"/>
                <a:gd name="T13" fmla="*/ 0 h 406"/>
                <a:gd name="T14" fmla="*/ 171 w 204"/>
                <a:gd name="T15" fmla="*/ 0 h 406"/>
                <a:gd name="T16" fmla="*/ 171 w 204"/>
                <a:gd name="T17" fmla="*/ 282 h 406"/>
                <a:gd name="T18" fmla="*/ 171 w 204"/>
                <a:gd name="T19" fmla="*/ 373 h 406"/>
                <a:gd name="T20" fmla="*/ 17 w 204"/>
                <a:gd name="T21" fmla="*/ 373 h 406"/>
                <a:gd name="T22" fmla="*/ 17 w 204"/>
                <a:gd name="T23" fmla="*/ 389 h 406"/>
                <a:gd name="T24" fmla="*/ 34 w 204"/>
                <a:gd name="T25" fmla="*/ 389 h 406"/>
                <a:gd name="T26" fmla="*/ 57 w 204"/>
                <a:gd name="T27" fmla="*/ 317 h 406"/>
                <a:gd name="T28" fmla="*/ 72 w 204"/>
                <a:gd name="T29" fmla="*/ 301 h 406"/>
                <a:gd name="T30" fmla="*/ 77 w 204"/>
                <a:gd name="T31" fmla="*/ 297 h 406"/>
                <a:gd name="T32" fmla="*/ 78 w 204"/>
                <a:gd name="T33" fmla="*/ 296 h 406"/>
                <a:gd name="T34" fmla="*/ 78 w 204"/>
                <a:gd name="T35" fmla="*/ 296 h 406"/>
                <a:gd name="T36" fmla="*/ 75 w 204"/>
                <a:gd name="T37" fmla="*/ 291 h 406"/>
                <a:gd name="T38" fmla="*/ 78 w 204"/>
                <a:gd name="T39" fmla="*/ 296 h 406"/>
                <a:gd name="T40" fmla="*/ 78 w 204"/>
                <a:gd name="T41" fmla="*/ 296 h 406"/>
                <a:gd name="T42" fmla="*/ 75 w 204"/>
                <a:gd name="T43" fmla="*/ 291 h 406"/>
                <a:gd name="T44" fmla="*/ 78 w 204"/>
                <a:gd name="T45" fmla="*/ 296 h 406"/>
                <a:gd name="T46" fmla="*/ 61 w 204"/>
                <a:gd name="T47" fmla="*/ 26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406">
                  <a:moveTo>
                    <a:pt x="61" y="268"/>
                  </a:moveTo>
                  <a:cubicBezTo>
                    <a:pt x="60" y="269"/>
                    <a:pt x="45" y="277"/>
                    <a:pt x="30" y="297"/>
                  </a:cubicBezTo>
                  <a:cubicBezTo>
                    <a:pt x="15" y="317"/>
                    <a:pt x="0" y="347"/>
                    <a:pt x="1" y="389"/>
                  </a:cubicBezTo>
                  <a:lnTo>
                    <a:pt x="1" y="406"/>
                  </a:lnTo>
                  <a:lnTo>
                    <a:pt x="204" y="406"/>
                  </a:lnTo>
                  <a:lnTo>
                    <a:pt x="204" y="282"/>
                  </a:lnTo>
                  <a:lnTo>
                    <a:pt x="204" y="0"/>
                  </a:lnTo>
                  <a:lnTo>
                    <a:pt x="171" y="0"/>
                  </a:lnTo>
                  <a:lnTo>
                    <a:pt x="171" y="282"/>
                  </a:lnTo>
                  <a:lnTo>
                    <a:pt x="171" y="373"/>
                  </a:lnTo>
                  <a:lnTo>
                    <a:pt x="17" y="373"/>
                  </a:lnTo>
                  <a:lnTo>
                    <a:pt x="17" y="389"/>
                  </a:lnTo>
                  <a:lnTo>
                    <a:pt x="34" y="389"/>
                  </a:lnTo>
                  <a:cubicBezTo>
                    <a:pt x="34" y="355"/>
                    <a:pt x="45" y="332"/>
                    <a:pt x="57" y="317"/>
                  </a:cubicBezTo>
                  <a:cubicBezTo>
                    <a:pt x="62" y="310"/>
                    <a:pt x="68" y="304"/>
                    <a:pt x="72" y="301"/>
                  </a:cubicBezTo>
                  <a:cubicBezTo>
                    <a:pt x="74" y="299"/>
                    <a:pt x="76" y="298"/>
                    <a:pt x="77" y="297"/>
                  </a:cubicBezTo>
                  <a:lnTo>
                    <a:pt x="78" y="296"/>
                  </a:lnTo>
                  <a:lnTo>
                    <a:pt x="78" y="296"/>
                  </a:lnTo>
                  <a:lnTo>
                    <a:pt x="75" y="291"/>
                  </a:lnTo>
                  <a:lnTo>
                    <a:pt x="78" y="296"/>
                  </a:lnTo>
                  <a:lnTo>
                    <a:pt x="78" y="296"/>
                  </a:lnTo>
                  <a:lnTo>
                    <a:pt x="75" y="291"/>
                  </a:lnTo>
                  <a:lnTo>
                    <a:pt x="78" y="296"/>
                  </a:lnTo>
                  <a:lnTo>
                    <a:pt x="61" y="26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207">
              <a:extLst>
                <a:ext uri="{FF2B5EF4-FFF2-40B4-BE49-F238E27FC236}">
                  <a16:creationId xmlns:a16="http://schemas.microsoft.com/office/drawing/2014/main" id="{039B7468-1F2D-4235-90C0-110400FFAD63}"/>
                </a:ext>
              </a:extLst>
            </p:cNvPr>
            <p:cNvSpPr>
              <a:spLocks/>
            </p:cNvSpPr>
            <p:nvPr/>
          </p:nvSpPr>
          <p:spPr bwMode="auto">
            <a:xfrm>
              <a:off x="4316413" y="6696076"/>
              <a:ext cx="41275" cy="28575"/>
            </a:xfrm>
            <a:custGeom>
              <a:avLst/>
              <a:gdLst>
                <a:gd name="T0" fmla="*/ 125 w 203"/>
                <a:gd name="T1" fmla="*/ 28 h 138"/>
                <a:gd name="T2" fmla="*/ 129 w 203"/>
                <a:gd name="T3" fmla="*/ 23 h 138"/>
                <a:gd name="T4" fmla="*/ 125 w 203"/>
                <a:gd name="T5" fmla="*/ 28 h 138"/>
                <a:gd name="T6" fmla="*/ 125 w 203"/>
                <a:gd name="T7" fmla="*/ 28 h 138"/>
                <a:gd name="T8" fmla="*/ 129 w 203"/>
                <a:gd name="T9" fmla="*/ 23 h 138"/>
                <a:gd name="T10" fmla="*/ 125 w 203"/>
                <a:gd name="T11" fmla="*/ 28 h 138"/>
                <a:gd name="T12" fmla="*/ 148 w 203"/>
                <a:gd name="T13" fmla="*/ 51 h 138"/>
                <a:gd name="T14" fmla="*/ 170 w 203"/>
                <a:gd name="T15" fmla="*/ 121 h 138"/>
                <a:gd name="T16" fmla="*/ 186 w 203"/>
                <a:gd name="T17" fmla="*/ 121 h 138"/>
                <a:gd name="T18" fmla="*/ 186 w 203"/>
                <a:gd name="T19" fmla="*/ 105 h 138"/>
                <a:gd name="T20" fmla="*/ 33 w 203"/>
                <a:gd name="T21" fmla="*/ 105 h 138"/>
                <a:gd name="T22" fmla="*/ 33 w 203"/>
                <a:gd name="T23" fmla="*/ 14 h 138"/>
                <a:gd name="T24" fmla="*/ 0 w 203"/>
                <a:gd name="T25" fmla="*/ 14 h 138"/>
                <a:gd name="T26" fmla="*/ 0 w 203"/>
                <a:gd name="T27" fmla="*/ 138 h 138"/>
                <a:gd name="T28" fmla="*/ 203 w 203"/>
                <a:gd name="T29" fmla="*/ 138 h 138"/>
                <a:gd name="T30" fmla="*/ 203 w 203"/>
                <a:gd name="T31" fmla="*/ 121 h 138"/>
                <a:gd name="T32" fmla="*/ 173 w 203"/>
                <a:gd name="T33" fmla="*/ 29 h 138"/>
                <a:gd name="T34" fmla="*/ 142 w 203"/>
                <a:gd name="T35" fmla="*/ 0 h 138"/>
                <a:gd name="T36" fmla="*/ 125 w 203"/>
                <a:gd name="T3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3" h="138">
                  <a:moveTo>
                    <a:pt x="125" y="28"/>
                  </a:moveTo>
                  <a:lnTo>
                    <a:pt x="129" y="23"/>
                  </a:lnTo>
                  <a:lnTo>
                    <a:pt x="125" y="28"/>
                  </a:lnTo>
                  <a:lnTo>
                    <a:pt x="125" y="28"/>
                  </a:lnTo>
                  <a:lnTo>
                    <a:pt x="129" y="23"/>
                  </a:lnTo>
                  <a:lnTo>
                    <a:pt x="125" y="28"/>
                  </a:lnTo>
                  <a:cubicBezTo>
                    <a:pt x="126" y="28"/>
                    <a:pt x="137" y="36"/>
                    <a:pt x="148" y="51"/>
                  </a:cubicBezTo>
                  <a:cubicBezTo>
                    <a:pt x="159" y="66"/>
                    <a:pt x="170" y="88"/>
                    <a:pt x="170" y="121"/>
                  </a:cubicBezTo>
                  <a:lnTo>
                    <a:pt x="186" y="121"/>
                  </a:lnTo>
                  <a:lnTo>
                    <a:pt x="186" y="105"/>
                  </a:lnTo>
                  <a:lnTo>
                    <a:pt x="33" y="105"/>
                  </a:lnTo>
                  <a:lnTo>
                    <a:pt x="33" y="14"/>
                  </a:lnTo>
                  <a:lnTo>
                    <a:pt x="0" y="14"/>
                  </a:lnTo>
                  <a:lnTo>
                    <a:pt x="0" y="138"/>
                  </a:lnTo>
                  <a:lnTo>
                    <a:pt x="203" y="138"/>
                  </a:lnTo>
                  <a:lnTo>
                    <a:pt x="203" y="121"/>
                  </a:lnTo>
                  <a:cubicBezTo>
                    <a:pt x="203" y="79"/>
                    <a:pt x="188" y="49"/>
                    <a:pt x="173" y="29"/>
                  </a:cubicBezTo>
                  <a:cubicBezTo>
                    <a:pt x="159" y="9"/>
                    <a:pt x="144" y="1"/>
                    <a:pt x="142" y="0"/>
                  </a:cubicBezTo>
                  <a:lnTo>
                    <a:pt x="125" y="28"/>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208">
              <a:extLst>
                <a:ext uri="{FF2B5EF4-FFF2-40B4-BE49-F238E27FC236}">
                  <a16:creationId xmlns:a16="http://schemas.microsoft.com/office/drawing/2014/main" id="{510A17BA-B2EA-4DB3-A483-4E76999FA6B7}"/>
                </a:ext>
              </a:extLst>
            </p:cNvPr>
            <p:cNvSpPr>
              <a:spLocks/>
            </p:cNvSpPr>
            <p:nvPr/>
          </p:nvSpPr>
          <p:spPr bwMode="auto">
            <a:xfrm>
              <a:off x="4384676" y="6494463"/>
              <a:ext cx="112713" cy="77788"/>
            </a:xfrm>
            <a:custGeom>
              <a:avLst/>
              <a:gdLst>
                <a:gd name="T0" fmla="*/ 33 w 550"/>
                <a:gd name="T1" fmla="*/ 347 h 375"/>
                <a:gd name="T2" fmla="*/ 33 w 550"/>
                <a:gd name="T3" fmla="*/ 263 h 375"/>
                <a:gd name="T4" fmla="*/ 77 w 550"/>
                <a:gd name="T5" fmla="*/ 182 h 375"/>
                <a:gd name="T6" fmla="*/ 77 w 550"/>
                <a:gd name="T7" fmla="*/ 182 h 375"/>
                <a:gd name="T8" fmla="*/ 141 w 550"/>
                <a:gd name="T9" fmla="*/ 140 h 375"/>
                <a:gd name="T10" fmla="*/ 190 w 550"/>
                <a:gd name="T11" fmla="*/ 50 h 375"/>
                <a:gd name="T12" fmla="*/ 190 w 550"/>
                <a:gd name="T13" fmla="*/ 45 h 375"/>
                <a:gd name="T14" fmla="*/ 173 w 550"/>
                <a:gd name="T15" fmla="*/ 45 h 375"/>
                <a:gd name="T16" fmla="*/ 160 w 550"/>
                <a:gd name="T17" fmla="*/ 56 h 375"/>
                <a:gd name="T18" fmla="*/ 243 w 550"/>
                <a:gd name="T19" fmla="*/ 97 h 375"/>
                <a:gd name="T20" fmla="*/ 325 w 550"/>
                <a:gd name="T21" fmla="*/ 56 h 375"/>
                <a:gd name="T22" fmla="*/ 312 w 550"/>
                <a:gd name="T23" fmla="*/ 45 h 375"/>
                <a:gd name="T24" fmla="*/ 296 w 550"/>
                <a:gd name="T25" fmla="*/ 45 h 375"/>
                <a:gd name="T26" fmla="*/ 296 w 550"/>
                <a:gd name="T27" fmla="*/ 50 h 375"/>
                <a:gd name="T28" fmla="*/ 344 w 550"/>
                <a:gd name="T29" fmla="*/ 140 h 375"/>
                <a:gd name="T30" fmla="*/ 408 w 550"/>
                <a:gd name="T31" fmla="*/ 182 h 375"/>
                <a:gd name="T32" fmla="*/ 409 w 550"/>
                <a:gd name="T33" fmla="*/ 182 h 375"/>
                <a:gd name="T34" fmla="*/ 410 w 550"/>
                <a:gd name="T35" fmla="*/ 183 h 375"/>
                <a:gd name="T36" fmla="*/ 469 w 550"/>
                <a:gd name="T37" fmla="*/ 227 h 375"/>
                <a:gd name="T38" fmla="*/ 503 w 550"/>
                <a:gd name="T39" fmla="*/ 264 h 375"/>
                <a:gd name="T40" fmla="*/ 516 w 550"/>
                <a:gd name="T41" fmla="*/ 298 h 375"/>
                <a:gd name="T42" fmla="*/ 515 w 550"/>
                <a:gd name="T43" fmla="*/ 307 h 375"/>
                <a:gd name="T44" fmla="*/ 515 w 550"/>
                <a:gd name="T45" fmla="*/ 306 h 375"/>
                <a:gd name="T46" fmla="*/ 498 w 550"/>
                <a:gd name="T47" fmla="*/ 335 h 375"/>
                <a:gd name="T48" fmla="*/ 477 w 550"/>
                <a:gd name="T49" fmla="*/ 342 h 375"/>
                <a:gd name="T50" fmla="*/ 446 w 550"/>
                <a:gd name="T51" fmla="*/ 334 h 375"/>
                <a:gd name="T52" fmla="*/ 435 w 550"/>
                <a:gd name="T53" fmla="*/ 328 h 375"/>
                <a:gd name="T54" fmla="*/ 432 w 550"/>
                <a:gd name="T55" fmla="*/ 326 h 375"/>
                <a:gd name="T56" fmla="*/ 431 w 550"/>
                <a:gd name="T57" fmla="*/ 326 h 375"/>
                <a:gd name="T58" fmla="*/ 431 w 550"/>
                <a:gd name="T59" fmla="*/ 326 h 375"/>
                <a:gd name="T60" fmla="*/ 428 w 550"/>
                <a:gd name="T61" fmla="*/ 330 h 375"/>
                <a:gd name="T62" fmla="*/ 431 w 550"/>
                <a:gd name="T63" fmla="*/ 326 h 375"/>
                <a:gd name="T64" fmla="*/ 431 w 550"/>
                <a:gd name="T65" fmla="*/ 326 h 375"/>
                <a:gd name="T66" fmla="*/ 428 w 550"/>
                <a:gd name="T67" fmla="*/ 330 h 375"/>
                <a:gd name="T68" fmla="*/ 431 w 550"/>
                <a:gd name="T69" fmla="*/ 326 h 375"/>
                <a:gd name="T70" fmla="*/ 412 w 550"/>
                <a:gd name="T71" fmla="*/ 353 h 375"/>
                <a:gd name="T72" fmla="*/ 432 w 550"/>
                <a:gd name="T73" fmla="*/ 364 h 375"/>
                <a:gd name="T74" fmla="*/ 477 w 550"/>
                <a:gd name="T75" fmla="*/ 375 h 375"/>
                <a:gd name="T76" fmla="*/ 518 w 550"/>
                <a:gd name="T77" fmla="*/ 362 h 375"/>
                <a:gd name="T78" fmla="*/ 547 w 550"/>
                <a:gd name="T79" fmla="*/ 316 h 375"/>
                <a:gd name="T80" fmla="*/ 547 w 550"/>
                <a:gd name="T81" fmla="*/ 316 h 375"/>
                <a:gd name="T82" fmla="*/ 550 w 550"/>
                <a:gd name="T83" fmla="*/ 298 h 375"/>
                <a:gd name="T84" fmla="*/ 528 w 550"/>
                <a:gd name="T85" fmla="*/ 242 h 375"/>
                <a:gd name="T86" fmla="*/ 464 w 550"/>
                <a:gd name="T87" fmla="*/ 179 h 375"/>
                <a:gd name="T88" fmla="*/ 426 w 550"/>
                <a:gd name="T89" fmla="*/ 153 h 375"/>
                <a:gd name="T90" fmla="*/ 417 w 550"/>
                <a:gd name="T91" fmla="*/ 168 h 375"/>
                <a:gd name="T92" fmla="*/ 426 w 550"/>
                <a:gd name="T93" fmla="*/ 154 h 375"/>
                <a:gd name="T94" fmla="*/ 362 w 550"/>
                <a:gd name="T95" fmla="*/ 112 h 375"/>
                <a:gd name="T96" fmla="*/ 329 w 550"/>
                <a:gd name="T97" fmla="*/ 50 h 375"/>
                <a:gd name="T98" fmla="*/ 329 w 550"/>
                <a:gd name="T99" fmla="*/ 45 h 375"/>
                <a:gd name="T100" fmla="*/ 329 w 550"/>
                <a:gd name="T101" fmla="*/ 0 h 375"/>
                <a:gd name="T102" fmla="*/ 300 w 550"/>
                <a:gd name="T103" fmla="*/ 34 h 375"/>
                <a:gd name="T104" fmla="*/ 243 w 550"/>
                <a:gd name="T105" fmla="*/ 63 h 375"/>
                <a:gd name="T106" fmla="*/ 186 w 550"/>
                <a:gd name="T107" fmla="*/ 34 h 375"/>
                <a:gd name="T108" fmla="*/ 156 w 550"/>
                <a:gd name="T109" fmla="*/ 0 h 375"/>
                <a:gd name="T110" fmla="*/ 156 w 550"/>
                <a:gd name="T111" fmla="*/ 50 h 375"/>
                <a:gd name="T112" fmla="*/ 123 w 550"/>
                <a:gd name="T113" fmla="*/ 112 h 375"/>
                <a:gd name="T114" fmla="*/ 59 w 550"/>
                <a:gd name="T115" fmla="*/ 154 h 375"/>
                <a:gd name="T116" fmla="*/ 59 w 550"/>
                <a:gd name="T117" fmla="*/ 154 h 375"/>
                <a:gd name="T118" fmla="*/ 0 w 550"/>
                <a:gd name="T119" fmla="*/ 263 h 375"/>
                <a:gd name="T120" fmla="*/ 0 w 550"/>
                <a:gd name="T121" fmla="*/ 347 h 375"/>
                <a:gd name="T122" fmla="*/ 33 w 550"/>
                <a:gd name="T123" fmla="*/ 34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0" h="375">
                  <a:moveTo>
                    <a:pt x="33" y="347"/>
                  </a:moveTo>
                  <a:lnTo>
                    <a:pt x="33" y="263"/>
                  </a:lnTo>
                  <a:cubicBezTo>
                    <a:pt x="33" y="230"/>
                    <a:pt x="50" y="200"/>
                    <a:pt x="77" y="182"/>
                  </a:cubicBezTo>
                  <a:lnTo>
                    <a:pt x="77" y="182"/>
                  </a:lnTo>
                  <a:lnTo>
                    <a:pt x="141" y="140"/>
                  </a:lnTo>
                  <a:cubicBezTo>
                    <a:pt x="172" y="120"/>
                    <a:pt x="190" y="86"/>
                    <a:pt x="190" y="50"/>
                  </a:cubicBezTo>
                  <a:lnTo>
                    <a:pt x="190" y="45"/>
                  </a:lnTo>
                  <a:lnTo>
                    <a:pt x="173" y="45"/>
                  </a:lnTo>
                  <a:lnTo>
                    <a:pt x="160" y="56"/>
                  </a:lnTo>
                  <a:cubicBezTo>
                    <a:pt x="181" y="81"/>
                    <a:pt x="210" y="97"/>
                    <a:pt x="243" y="97"/>
                  </a:cubicBezTo>
                  <a:cubicBezTo>
                    <a:pt x="275" y="97"/>
                    <a:pt x="304" y="81"/>
                    <a:pt x="325" y="56"/>
                  </a:cubicBezTo>
                  <a:lnTo>
                    <a:pt x="312" y="45"/>
                  </a:lnTo>
                  <a:lnTo>
                    <a:pt x="296" y="45"/>
                  </a:lnTo>
                  <a:lnTo>
                    <a:pt x="296" y="50"/>
                  </a:lnTo>
                  <a:cubicBezTo>
                    <a:pt x="296" y="86"/>
                    <a:pt x="314" y="120"/>
                    <a:pt x="344" y="140"/>
                  </a:cubicBezTo>
                  <a:lnTo>
                    <a:pt x="408" y="182"/>
                  </a:lnTo>
                  <a:lnTo>
                    <a:pt x="409" y="182"/>
                  </a:lnTo>
                  <a:lnTo>
                    <a:pt x="410" y="183"/>
                  </a:lnTo>
                  <a:cubicBezTo>
                    <a:pt x="416" y="187"/>
                    <a:pt x="444" y="204"/>
                    <a:pt x="469" y="227"/>
                  </a:cubicBezTo>
                  <a:cubicBezTo>
                    <a:pt x="482" y="238"/>
                    <a:pt x="494" y="251"/>
                    <a:pt x="503" y="264"/>
                  </a:cubicBezTo>
                  <a:cubicBezTo>
                    <a:pt x="512" y="276"/>
                    <a:pt x="516" y="288"/>
                    <a:pt x="516" y="298"/>
                  </a:cubicBezTo>
                  <a:cubicBezTo>
                    <a:pt x="516" y="301"/>
                    <a:pt x="516" y="303"/>
                    <a:pt x="515" y="307"/>
                  </a:cubicBezTo>
                  <a:lnTo>
                    <a:pt x="515" y="306"/>
                  </a:lnTo>
                  <a:cubicBezTo>
                    <a:pt x="510" y="322"/>
                    <a:pt x="504" y="331"/>
                    <a:pt x="498" y="335"/>
                  </a:cubicBezTo>
                  <a:cubicBezTo>
                    <a:pt x="492" y="340"/>
                    <a:pt x="485" y="342"/>
                    <a:pt x="477" y="342"/>
                  </a:cubicBezTo>
                  <a:cubicBezTo>
                    <a:pt x="467" y="342"/>
                    <a:pt x="455" y="338"/>
                    <a:pt x="446" y="334"/>
                  </a:cubicBezTo>
                  <a:cubicBezTo>
                    <a:pt x="441" y="332"/>
                    <a:pt x="437" y="330"/>
                    <a:pt x="435" y="328"/>
                  </a:cubicBezTo>
                  <a:lnTo>
                    <a:pt x="432" y="326"/>
                  </a:lnTo>
                  <a:lnTo>
                    <a:pt x="431" y="326"/>
                  </a:lnTo>
                  <a:lnTo>
                    <a:pt x="431" y="326"/>
                  </a:lnTo>
                  <a:lnTo>
                    <a:pt x="428" y="330"/>
                  </a:lnTo>
                  <a:lnTo>
                    <a:pt x="431" y="326"/>
                  </a:lnTo>
                  <a:lnTo>
                    <a:pt x="431" y="326"/>
                  </a:lnTo>
                  <a:lnTo>
                    <a:pt x="428" y="330"/>
                  </a:lnTo>
                  <a:lnTo>
                    <a:pt x="431" y="326"/>
                  </a:lnTo>
                  <a:lnTo>
                    <a:pt x="412" y="353"/>
                  </a:lnTo>
                  <a:cubicBezTo>
                    <a:pt x="412" y="353"/>
                    <a:pt x="420" y="359"/>
                    <a:pt x="432" y="364"/>
                  </a:cubicBezTo>
                  <a:cubicBezTo>
                    <a:pt x="443" y="369"/>
                    <a:pt x="459" y="375"/>
                    <a:pt x="477" y="375"/>
                  </a:cubicBezTo>
                  <a:cubicBezTo>
                    <a:pt x="490" y="375"/>
                    <a:pt x="505" y="372"/>
                    <a:pt x="518" y="362"/>
                  </a:cubicBezTo>
                  <a:cubicBezTo>
                    <a:pt x="531" y="352"/>
                    <a:pt x="541" y="337"/>
                    <a:pt x="547" y="316"/>
                  </a:cubicBezTo>
                  <a:lnTo>
                    <a:pt x="547" y="316"/>
                  </a:lnTo>
                  <a:cubicBezTo>
                    <a:pt x="549" y="310"/>
                    <a:pt x="550" y="304"/>
                    <a:pt x="550" y="298"/>
                  </a:cubicBezTo>
                  <a:cubicBezTo>
                    <a:pt x="549" y="277"/>
                    <a:pt x="540" y="258"/>
                    <a:pt x="528" y="242"/>
                  </a:cubicBezTo>
                  <a:cubicBezTo>
                    <a:pt x="510" y="217"/>
                    <a:pt x="485" y="195"/>
                    <a:pt x="464" y="179"/>
                  </a:cubicBezTo>
                  <a:cubicBezTo>
                    <a:pt x="443" y="164"/>
                    <a:pt x="426" y="154"/>
                    <a:pt x="426" y="153"/>
                  </a:cubicBezTo>
                  <a:lnTo>
                    <a:pt x="417" y="168"/>
                  </a:lnTo>
                  <a:lnTo>
                    <a:pt x="426" y="154"/>
                  </a:lnTo>
                  <a:lnTo>
                    <a:pt x="362" y="112"/>
                  </a:lnTo>
                  <a:cubicBezTo>
                    <a:pt x="342" y="98"/>
                    <a:pt x="329" y="75"/>
                    <a:pt x="329" y="50"/>
                  </a:cubicBezTo>
                  <a:lnTo>
                    <a:pt x="329" y="45"/>
                  </a:lnTo>
                  <a:lnTo>
                    <a:pt x="329" y="0"/>
                  </a:lnTo>
                  <a:lnTo>
                    <a:pt x="300" y="34"/>
                  </a:lnTo>
                  <a:cubicBezTo>
                    <a:pt x="283" y="53"/>
                    <a:pt x="264" y="63"/>
                    <a:pt x="243" y="63"/>
                  </a:cubicBezTo>
                  <a:cubicBezTo>
                    <a:pt x="222" y="63"/>
                    <a:pt x="202" y="53"/>
                    <a:pt x="186" y="34"/>
                  </a:cubicBezTo>
                  <a:lnTo>
                    <a:pt x="156" y="0"/>
                  </a:lnTo>
                  <a:lnTo>
                    <a:pt x="156" y="50"/>
                  </a:lnTo>
                  <a:cubicBezTo>
                    <a:pt x="156" y="75"/>
                    <a:pt x="144" y="98"/>
                    <a:pt x="123" y="112"/>
                  </a:cubicBezTo>
                  <a:lnTo>
                    <a:pt x="59" y="154"/>
                  </a:lnTo>
                  <a:lnTo>
                    <a:pt x="59" y="154"/>
                  </a:lnTo>
                  <a:cubicBezTo>
                    <a:pt x="22" y="178"/>
                    <a:pt x="0" y="219"/>
                    <a:pt x="0" y="263"/>
                  </a:cubicBezTo>
                  <a:lnTo>
                    <a:pt x="0" y="347"/>
                  </a:lnTo>
                  <a:lnTo>
                    <a:pt x="33" y="34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209">
              <a:extLst>
                <a:ext uri="{FF2B5EF4-FFF2-40B4-BE49-F238E27FC236}">
                  <a16:creationId xmlns:a16="http://schemas.microsoft.com/office/drawing/2014/main" id="{C9FA3CA4-942A-4696-BB06-D6813A429D4D}"/>
                </a:ext>
              </a:extLst>
            </p:cNvPr>
            <p:cNvSpPr>
              <a:spLocks/>
            </p:cNvSpPr>
            <p:nvPr/>
          </p:nvSpPr>
          <p:spPr bwMode="auto">
            <a:xfrm>
              <a:off x="4387851" y="6589713"/>
              <a:ext cx="92075" cy="6350"/>
            </a:xfrm>
            <a:custGeom>
              <a:avLst/>
              <a:gdLst>
                <a:gd name="T0" fmla="*/ 0 w 451"/>
                <a:gd name="T1" fmla="*/ 33 h 35"/>
                <a:gd name="T2" fmla="*/ 451 w 451"/>
                <a:gd name="T3" fmla="*/ 35 h 35"/>
                <a:gd name="T4" fmla="*/ 451 w 451"/>
                <a:gd name="T5" fmla="*/ 1 h 35"/>
                <a:gd name="T6" fmla="*/ 0 w 451"/>
                <a:gd name="T7" fmla="*/ 0 h 35"/>
              </a:gdLst>
              <a:ahLst/>
              <a:cxnLst>
                <a:cxn ang="0">
                  <a:pos x="T0" y="T1"/>
                </a:cxn>
                <a:cxn ang="0">
                  <a:pos x="T2" y="T3"/>
                </a:cxn>
                <a:cxn ang="0">
                  <a:pos x="T4" y="T5"/>
                </a:cxn>
                <a:cxn ang="0">
                  <a:pos x="T6" y="T7"/>
                </a:cxn>
              </a:cxnLst>
              <a:rect l="0" t="0" r="r" b="b"/>
              <a:pathLst>
                <a:path w="451" h="35">
                  <a:moveTo>
                    <a:pt x="0" y="33"/>
                  </a:moveTo>
                  <a:lnTo>
                    <a:pt x="451" y="35"/>
                  </a:lnTo>
                  <a:lnTo>
                    <a:pt x="451" y="1"/>
                  </a:lnTo>
                  <a:lnTo>
                    <a:pt x="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210">
              <a:extLst>
                <a:ext uri="{FF2B5EF4-FFF2-40B4-BE49-F238E27FC236}">
                  <a16:creationId xmlns:a16="http://schemas.microsoft.com/office/drawing/2014/main" id="{A98A4DCF-7B23-4635-84C9-EE22D60066D3}"/>
                </a:ext>
              </a:extLst>
            </p:cNvPr>
            <p:cNvSpPr>
              <a:spLocks/>
            </p:cNvSpPr>
            <p:nvPr/>
          </p:nvSpPr>
          <p:spPr bwMode="auto">
            <a:xfrm>
              <a:off x="4408488" y="6477001"/>
              <a:ext cx="50800" cy="38100"/>
            </a:xfrm>
            <a:custGeom>
              <a:avLst/>
              <a:gdLst>
                <a:gd name="T0" fmla="*/ 17 w 248"/>
                <a:gd name="T1" fmla="*/ 17 h 180"/>
                <a:gd name="T2" fmla="*/ 0 w 248"/>
                <a:gd name="T3" fmla="*/ 17 h 180"/>
                <a:gd name="T4" fmla="*/ 41 w 248"/>
                <a:gd name="T5" fmla="*/ 139 h 180"/>
                <a:gd name="T6" fmla="*/ 41 w 248"/>
                <a:gd name="T7" fmla="*/ 139 h 180"/>
                <a:gd name="T8" fmla="*/ 124 w 248"/>
                <a:gd name="T9" fmla="*/ 180 h 180"/>
                <a:gd name="T10" fmla="*/ 206 w 248"/>
                <a:gd name="T11" fmla="*/ 139 h 180"/>
                <a:gd name="T12" fmla="*/ 206 w 248"/>
                <a:gd name="T13" fmla="*/ 139 h 180"/>
                <a:gd name="T14" fmla="*/ 248 w 248"/>
                <a:gd name="T15" fmla="*/ 17 h 180"/>
                <a:gd name="T16" fmla="*/ 248 w 248"/>
                <a:gd name="T17" fmla="*/ 0 h 180"/>
                <a:gd name="T18" fmla="*/ 0 w 248"/>
                <a:gd name="T19" fmla="*/ 0 h 180"/>
                <a:gd name="T20" fmla="*/ 0 w 248"/>
                <a:gd name="T21" fmla="*/ 17 h 180"/>
                <a:gd name="T22" fmla="*/ 17 w 248"/>
                <a:gd name="T23" fmla="*/ 17 h 180"/>
                <a:gd name="T24" fmla="*/ 17 w 248"/>
                <a:gd name="T25" fmla="*/ 33 h 180"/>
                <a:gd name="T26" fmla="*/ 231 w 248"/>
                <a:gd name="T27" fmla="*/ 33 h 180"/>
                <a:gd name="T28" fmla="*/ 231 w 248"/>
                <a:gd name="T29" fmla="*/ 17 h 180"/>
                <a:gd name="T30" fmla="*/ 214 w 248"/>
                <a:gd name="T31" fmla="*/ 17 h 180"/>
                <a:gd name="T32" fmla="*/ 181 w 248"/>
                <a:gd name="T33" fmla="*/ 117 h 180"/>
                <a:gd name="T34" fmla="*/ 181 w 248"/>
                <a:gd name="T35" fmla="*/ 117 h 180"/>
                <a:gd name="T36" fmla="*/ 124 w 248"/>
                <a:gd name="T37" fmla="*/ 146 h 180"/>
                <a:gd name="T38" fmla="*/ 67 w 248"/>
                <a:gd name="T39" fmla="*/ 117 h 180"/>
                <a:gd name="T40" fmla="*/ 67 w 248"/>
                <a:gd name="T41" fmla="*/ 117 h 180"/>
                <a:gd name="T42" fmla="*/ 33 w 248"/>
                <a:gd name="T43" fmla="*/ 17 h 180"/>
                <a:gd name="T44" fmla="*/ 17 w 248"/>
                <a:gd name="T45" fmla="*/ 17 h 180"/>
                <a:gd name="T46" fmla="*/ 17 w 248"/>
                <a:gd name="T47" fmla="*/ 33 h 180"/>
                <a:gd name="T48" fmla="*/ 17 w 248"/>
                <a:gd name="T49"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8" h="180">
                  <a:moveTo>
                    <a:pt x="17" y="17"/>
                  </a:moveTo>
                  <a:lnTo>
                    <a:pt x="0" y="17"/>
                  </a:lnTo>
                  <a:cubicBezTo>
                    <a:pt x="0" y="65"/>
                    <a:pt x="15" y="108"/>
                    <a:pt x="41" y="139"/>
                  </a:cubicBezTo>
                  <a:lnTo>
                    <a:pt x="41" y="139"/>
                  </a:lnTo>
                  <a:cubicBezTo>
                    <a:pt x="62" y="164"/>
                    <a:pt x="91" y="180"/>
                    <a:pt x="124" y="180"/>
                  </a:cubicBezTo>
                  <a:cubicBezTo>
                    <a:pt x="156" y="180"/>
                    <a:pt x="185" y="164"/>
                    <a:pt x="206" y="139"/>
                  </a:cubicBezTo>
                  <a:lnTo>
                    <a:pt x="206" y="139"/>
                  </a:lnTo>
                  <a:cubicBezTo>
                    <a:pt x="232" y="109"/>
                    <a:pt x="248" y="65"/>
                    <a:pt x="248" y="17"/>
                  </a:cubicBezTo>
                  <a:lnTo>
                    <a:pt x="248" y="0"/>
                  </a:lnTo>
                  <a:lnTo>
                    <a:pt x="0" y="0"/>
                  </a:lnTo>
                  <a:lnTo>
                    <a:pt x="0" y="17"/>
                  </a:lnTo>
                  <a:lnTo>
                    <a:pt x="17" y="17"/>
                  </a:lnTo>
                  <a:lnTo>
                    <a:pt x="17" y="33"/>
                  </a:lnTo>
                  <a:lnTo>
                    <a:pt x="231" y="33"/>
                  </a:lnTo>
                  <a:lnTo>
                    <a:pt x="231" y="17"/>
                  </a:lnTo>
                  <a:lnTo>
                    <a:pt x="214" y="17"/>
                  </a:lnTo>
                  <a:cubicBezTo>
                    <a:pt x="214" y="58"/>
                    <a:pt x="201" y="94"/>
                    <a:pt x="181" y="117"/>
                  </a:cubicBezTo>
                  <a:lnTo>
                    <a:pt x="181" y="117"/>
                  </a:lnTo>
                  <a:cubicBezTo>
                    <a:pt x="164" y="136"/>
                    <a:pt x="145" y="146"/>
                    <a:pt x="124" y="146"/>
                  </a:cubicBezTo>
                  <a:cubicBezTo>
                    <a:pt x="103" y="146"/>
                    <a:pt x="83" y="136"/>
                    <a:pt x="67" y="117"/>
                  </a:cubicBezTo>
                  <a:lnTo>
                    <a:pt x="67" y="117"/>
                  </a:lnTo>
                  <a:cubicBezTo>
                    <a:pt x="47" y="94"/>
                    <a:pt x="33" y="58"/>
                    <a:pt x="33" y="17"/>
                  </a:cubicBezTo>
                  <a:lnTo>
                    <a:pt x="17" y="17"/>
                  </a:lnTo>
                  <a:lnTo>
                    <a:pt x="17" y="33"/>
                  </a:lnTo>
                  <a:lnTo>
                    <a:pt x="17"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211">
              <a:extLst>
                <a:ext uri="{FF2B5EF4-FFF2-40B4-BE49-F238E27FC236}">
                  <a16:creationId xmlns:a16="http://schemas.microsoft.com/office/drawing/2014/main" id="{8ADD6243-A3BE-4EBC-B84B-39E66EFD550B}"/>
                </a:ext>
              </a:extLst>
            </p:cNvPr>
            <p:cNvSpPr>
              <a:spLocks/>
            </p:cNvSpPr>
            <p:nvPr/>
          </p:nvSpPr>
          <p:spPr bwMode="auto">
            <a:xfrm>
              <a:off x="4398963" y="6440488"/>
              <a:ext cx="69850" cy="44450"/>
            </a:xfrm>
            <a:custGeom>
              <a:avLst/>
              <a:gdLst>
                <a:gd name="T0" fmla="*/ 16 w 342"/>
                <a:gd name="T1" fmla="*/ 196 h 213"/>
                <a:gd name="T2" fmla="*/ 16 w 342"/>
                <a:gd name="T3" fmla="*/ 212 h 213"/>
                <a:gd name="T4" fmla="*/ 342 w 342"/>
                <a:gd name="T5" fmla="*/ 213 h 213"/>
                <a:gd name="T6" fmla="*/ 342 w 342"/>
                <a:gd name="T7" fmla="*/ 196 h 213"/>
                <a:gd name="T8" fmla="*/ 293 w 342"/>
                <a:gd name="T9" fmla="*/ 58 h 213"/>
                <a:gd name="T10" fmla="*/ 171 w 342"/>
                <a:gd name="T11" fmla="*/ 0 h 213"/>
                <a:gd name="T12" fmla="*/ 49 w 342"/>
                <a:gd name="T13" fmla="*/ 58 h 213"/>
                <a:gd name="T14" fmla="*/ 0 w 342"/>
                <a:gd name="T15" fmla="*/ 196 h 213"/>
                <a:gd name="T16" fmla="*/ 0 w 342"/>
                <a:gd name="T17" fmla="*/ 212 h 213"/>
                <a:gd name="T18" fmla="*/ 16 w 342"/>
                <a:gd name="T19" fmla="*/ 212 h 213"/>
                <a:gd name="T20" fmla="*/ 16 w 342"/>
                <a:gd name="T21" fmla="*/ 196 h 213"/>
                <a:gd name="T22" fmla="*/ 33 w 342"/>
                <a:gd name="T23" fmla="*/ 196 h 213"/>
                <a:gd name="T24" fmla="*/ 74 w 342"/>
                <a:gd name="T25" fmla="*/ 80 h 213"/>
                <a:gd name="T26" fmla="*/ 171 w 342"/>
                <a:gd name="T27" fmla="*/ 34 h 213"/>
                <a:gd name="T28" fmla="*/ 268 w 342"/>
                <a:gd name="T29" fmla="*/ 80 h 213"/>
                <a:gd name="T30" fmla="*/ 309 w 342"/>
                <a:gd name="T31" fmla="*/ 196 h 213"/>
                <a:gd name="T32" fmla="*/ 326 w 342"/>
                <a:gd name="T33" fmla="*/ 196 h 213"/>
                <a:gd name="T34" fmla="*/ 326 w 342"/>
                <a:gd name="T35" fmla="*/ 179 h 213"/>
                <a:gd name="T36" fmla="*/ 16 w 342"/>
                <a:gd name="T37" fmla="*/ 179 h 213"/>
                <a:gd name="T38" fmla="*/ 16 w 342"/>
                <a:gd name="T39" fmla="*/ 196 h 213"/>
                <a:gd name="T40" fmla="*/ 33 w 342"/>
                <a:gd name="T41" fmla="*/ 196 h 213"/>
                <a:gd name="T42" fmla="*/ 16 w 342"/>
                <a:gd name="T43"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2" h="213">
                  <a:moveTo>
                    <a:pt x="16" y="196"/>
                  </a:moveTo>
                  <a:lnTo>
                    <a:pt x="16" y="212"/>
                  </a:lnTo>
                  <a:lnTo>
                    <a:pt x="342" y="213"/>
                  </a:lnTo>
                  <a:lnTo>
                    <a:pt x="342" y="196"/>
                  </a:lnTo>
                  <a:cubicBezTo>
                    <a:pt x="342" y="143"/>
                    <a:pt x="324" y="94"/>
                    <a:pt x="293" y="58"/>
                  </a:cubicBezTo>
                  <a:cubicBezTo>
                    <a:pt x="262" y="23"/>
                    <a:pt x="219" y="0"/>
                    <a:pt x="171" y="0"/>
                  </a:cubicBezTo>
                  <a:cubicBezTo>
                    <a:pt x="123" y="0"/>
                    <a:pt x="80" y="23"/>
                    <a:pt x="49" y="58"/>
                  </a:cubicBezTo>
                  <a:cubicBezTo>
                    <a:pt x="18" y="94"/>
                    <a:pt x="0" y="142"/>
                    <a:pt x="0" y="196"/>
                  </a:cubicBezTo>
                  <a:lnTo>
                    <a:pt x="0" y="212"/>
                  </a:lnTo>
                  <a:lnTo>
                    <a:pt x="16" y="212"/>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16" y="179"/>
                  </a:lnTo>
                  <a:lnTo>
                    <a:pt x="16" y="196"/>
                  </a:lnTo>
                  <a:lnTo>
                    <a:pt x="33" y="196"/>
                  </a:lnTo>
                  <a:lnTo>
                    <a:pt x="1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212">
              <a:extLst>
                <a:ext uri="{FF2B5EF4-FFF2-40B4-BE49-F238E27FC236}">
                  <a16:creationId xmlns:a16="http://schemas.microsoft.com/office/drawing/2014/main" id="{62F485EF-863D-4506-9827-2F8A5A5CE103}"/>
                </a:ext>
              </a:extLst>
            </p:cNvPr>
            <p:cNvSpPr>
              <a:spLocks/>
            </p:cNvSpPr>
            <p:nvPr/>
          </p:nvSpPr>
          <p:spPr bwMode="auto">
            <a:xfrm>
              <a:off x="44307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Freeform 213">
              <a:extLst>
                <a:ext uri="{FF2B5EF4-FFF2-40B4-BE49-F238E27FC236}">
                  <a16:creationId xmlns:a16="http://schemas.microsoft.com/office/drawing/2014/main" id="{8E73C4F5-8317-4692-B1E0-3317C766321E}"/>
                </a:ext>
              </a:extLst>
            </p:cNvPr>
            <p:cNvSpPr>
              <a:spLocks/>
            </p:cNvSpPr>
            <p:nvPr/>
          </p:nvSpPr>
          <p:spPr bwMode="auto">
            <a:xfrm>
              <a:off x="4406901" y="6535738"/>
              <a:ext cx="50800" cy="57150"/>
            </a:xfrm>
            <a:custGeom>
              <a:avLst/>
              <a:gdLst>
                <a:gd name="T0" fmla="*/ 251 w 251"/>
                <a:gd name="T1" fmla="*/ 28 h 279"/>
                <a:gd name="T2" fmla="*/ 202 w 251"/>
                <a:gd name="T3" fmla="*/ 0 h 279"/>
                <a:gd name="T4" fmla="*/ 67 w 251"/>
                <a:gd name="T5" fmla="*/ 0 h 279"/>
                <a:gd name="T6" fmla="*/ 11 w 251"/>
                <a:gd name="T7" fmla="*/ 56 h 279"/>
                <a:gd name="T8" fmla="*/ 27 w 251"/>
                <a:gd name="T9" fmla="*/ 56 h 279"/>
                <a:gd name="T10" fmla="*/ 11 w 251"/>
                <a:gd name="T11" fmla="*/ 55 h 279"/>
                <a:gd name="T12" fmla="*/ 0 w 251"/>
                <a:gd name="T13" fmla="*/ 278 h 279"/>
                <a:gd name="T14" fmla="*/ 34 w 251"/>
                <a:gd name="T15" fmla="*/ 279 h 279"/>
                <a:gd name="T16" fmla="*/ 44 w 251"/>
                <a:gd name="T17" fmla="*/ 57 h 279"/>
                <a:gd name="T18" fmla="*/ 44 w 251"/>
                <a:gd name="T19" fmla="*/ 56 h 279"/>
                <a:gd name="T20" fmla="*/ 67 w 251"/>
                <a:gd name="T21" fmla="*/ 33 h 279"/>
                <a:gd name="T22" fmla="*/ 202 w 251"/>
                <a:gd name="T23" fmla="*/ 33 h 279"/>
                <a:gd name="T24" fmla="*/ 222 w 251"/>
                <a:gd name="T25" fmla="*/ 45 h 279"/>
                <a:gd name="T26" fmla="*/ 251 w 251"/>
                <a:gd name="T27" fmla="*/ 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 h="279">
                  <a:moveTo>
                    <a:pt x="251" y="28"/>
                  </a:moveTo>
                  <a:cubicBezTo>
                    <a:pt x="242" y="12"/>
                    <a:pt x="223" y="0"/>
                    <a:pt x="202" y="0"/>
                  </a:cubicBezTo>
                  <a:lnTo>
                    <a:pt x="67" y="0"/>
                  </a:lnTo>
                  <a:cubicBezTo>
                    <a:pt x="36" y="0"/>
                    <a:pt x="11" y="25"/>
                    <a:pt x="11" y="56"/>
                  </a:cubicBezTo>
                  <a:lnTo>
                    <a:pt x="27" y="56"/>
                  </a:lnTo>
                  <a:lnTo>
                    <a:pt x="11" y="55"/>
                  </a:lnTo>
                  <a:lnTo>
                    <a:pt x="0" y="278"/>
                  </a:lnTo>
                  <a:lnTo>
                    <a:pt x="34" y="279"/>
                  </a:lnTo>
                  <a:lnTo>
                    <a:pt x="44" y="57"/>
                  </a:lnTo>
                  <a:lnTo>
                    <a:pt x="44" y="56"/>
                  </a:lnTo>
                  <a:cubicBezTo>
                    <a:pt x="44" y="43"/>
                    <a:pt x="54" y="33"/>
                    <a:pt x="67" y="33"/>
                  </a:cubicBezTo>
                  <a:lnTo>
                    <a:pt x="202" y="33"/>
                  </a:lnTo>
                  <a:cubicBezTo>
                    <a:pt x="211" y="33"/>
                    <a:pt x="218" y="38"/>
                    <a:pt x="222" y="45"/>
                  </a:cubicBezTo>
                  <a:lnTo>
                    <a:pt x="251" y="2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214">
              <a:extLst>
                <a:ext uri="{FF2B5EF4-FFF2-40B4-BE49-F238E27FC236}">
                  <a16:creationId xmlns:a16="http://schemas.microsoft.com/office/drawing/2014/main" id="{DB324A61-EE66-4997-8CDE-CB7657EDF645}"/>
                </a:ext>
              </a:extLst>
            </p:cNvPr>
            <p:cNvSpPr>
              <a:spLocks/>
            </p:cNvSpPr>
            <p:nvPr/>
          </p:nvSpPr>
          <p:spPr bwMode="auto">
            <a:xfrm>
              <a:off x="4446588" y="6521451"/>
              <a:ext cx="14288" cy="19050"/>
            </a:xfrm>
            <a:custGeom>
              <a:avLst/>
              <a:gdLst>
                <a:gd name="T0" fmla="*/ 41 w 71"/>
                <a:gd name="T1" fmla="*/ 0 h 99"/>
                <a:gd name="T2" fmla="*/ 0 w 71"/>
                <a:gd name="T3" fmla="*/ 84 h 99"/>
                <a:gd name="T4" fmla="*/ 29 w 71"/>
                <a:gd name="T5" fmla="*/ 99 h 99"/>
                <a:gd name="T6" fmla="*/ 71 w 71"/>
                <a:gd name="T7" fmla="*/ 15 h 99"/>
              </a:gdLst>
              <a:ahLst/>
              <a:cxnLst>
                <a:cxn ang="0">
                  <a:pos x="T0" y="T1"/>
                </a:cxn>
                <a:cxn ang="0">
                  <a:pos x="T2" y="T3"/>
                </a:cxn>
                <a:cxn ang="0">
                  <a:pos x="T4" y="T5"/>
                </a:cxn>
                <a:cxn ang="0">
                  <a:pos x="T6" y="T7"/>
                </a:cxn>
              </a:cxnLst>
              <a:rect l="0" t="0" r="r" b="b"/>
              <a:pathLst>
                <a:path w="71" h="99">
                  <a:moveTo>
                    <a:pt x="41" y="0"/>
                  </a:moveTo>
                  <a:lnTo>
                    <a:pt x="0" y="84"/>
                  </a:lnTo>
                  <a:lnTo>
                    <a:pt x="29" y="99"/>
                  </a:lnTo>
                  <a:lnTo>
                    <a:pt x="71" y="1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215">
              <a:extLst>
                <a:ext uri="{FF2B5EF4-FFF2-40B4-BE49-F238E27FC236}">
                  <a16:creationId xmlns:a16="http://schemas.microsoft.com/office/drawing/2014/main" id="{2BD6E627-4ED0-435A-AB2E-8A3C3861C2D7}"/>
                </a:ext>
              </a:extLst>
            </p:cNvPr>
            <p:cNvSpPr>
              <a:spLocks/>
            </p:cNvSpPr>
            <p:nvPr/>
          </p:nvSpPr>
          <p:spPr bwMode="auto">
            <a:xfrm>
              <a:off x="4406901" y="6521451"/>
              <a:ext cx="14288" cy="19050"/>
            </a:xfrm>
            <a:custGeom>
              <a:avLst/>
              <a:gdLst>
                <a:gd name="T0" fmla="*/ 0 w 72"/>
                <a:gd name="T1" fmla="*/ 14 h 99"/>
                <a:gd name="T2" fmla="*/ 42 w 72"/>
                <a:gd name="T3" fmla="*/ 99 h 99"/>
                <a:gd name="T4" fmla="*/ 72 w 72"/>
                <a:gd name="T5" fmla="*/ 84 h 99"/>
                <a:gd name="T6" fmla="*/ 30 w 72"/>
                <a:gd name="T7" fmla="*/ 0 h 99"/>
              </a:gdLst>
              <a:ahLst/>
              <a:cxnLst>
                <a:cxn ang="0">
                  <a:pos x="T0" y="T1"/>
                </a:cxn>
                <a:cxn ang="0">
                  <a:pos x="T2" y="T3"/>
                </a:cxn>
                <a:cxn ang="0">
                  <a:pos x="T4" y="T5"/>
                </a:cxn>
                <a:cxn ang="0">
                  <a:pos x="T6" y="T7"/>
                </a:cxn>
              </a:cxnLst>
              <a:rect l="0" t="0" r="r" b="b"/>
              <a:pathLst>
                <a:path w="72" h="99">
                  <a:moveTo>
                    <a:pt x="0" y="14"/>
                  </a:moveTo>
                  <a:lnTo>
                    <a:pt x="42" y="99"/>
                  </a:lnTo>
                  <a:lnTo>
                    <a:pt x="72"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216">
              <a:extLst>
                <a:ext uri="{FF2B5EF4-FFF2-40B4-BE49-F238E27FC236}">
                  <a16:creationId xmlns:a16="http://schemas.microsoft.com/office/drawing/2014/main" id="{8D0D22CF-416D-4444-90F8-98DA26CB8F9B}"/>
                </a:ext>
              </a:extLst>
            </p:cNvPr>
            <p:cNvSpPr>
              <a:spLocks/>
            </p:cNvSpPr>
            <p:nvPr/>
          </p:nvSpPr>
          <p:spPr bwMode="auto">
            <a:xfrm>
              <a:off x="4406901" y="6627813"/>
              <a:ext cx="55563" cy="74613"/>
            </a:xfrm>
            <a:custGeom>
              <a:avLst/>
              <a:gdLst>
                <a:gd name="T0" fmla="*/ 30 w 35"/>
                <a:gd name="T1" fmla="*/ 0 h 47"/>
                <a:gd name="T2" fmla="*/ 30 w 35"/>
                <a:gd name="T3" fmla="*/ 43 h 47"/>
                <a:gd name="T4" fmla="*/ 4 w 35"/>
                <a:gd name="T5" fmla="*/ 43 h 47"/>
                <a:gd name="T6" fmla="*/ 4 w 35"/>
                <a:gd name="T7" fmla="*/ 0 h 47"/>
                <a:gd name="T8" fmla="*/ 0 w 35"/>
                <a:gd name="T9" fmla="*/ 0 h 47"/>
                <a:gd name="T10" fmla="*/ 0 w 35"/>
                <a:gd name="T11" fmla="*/ 47 h 47"/>
                <a:gd name="T12" fmla="*/ 35 w 35"/>
                <a:gd name="T13" fmla="*/ 47 h 47"/>
                <a:gd name="T14" fmla="*/ 35 w 35"/>
                <a:gd name="T15" fmla="*/ 0 h 47"/>
                <a:gd name="T16" fmla="*/ 3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30" y="0"/>
                  </a:moveTo>
                  <a:lnTo>
                    <a:pt x="30" y="43"/>
                  </a:lnTo>
                  <a:lnTo>
                    <a:pt x="4" y="43"/>
                  </a:lnTo>
                  <a:lnTo>
                    <a:pt x="4" y="0"/>
                  </a:lnTo>
                  <a:lnTo>
                    <a:pt x="0" y="0"/>
                  </a:lnTo>
                  <a:lnTo>
                    <a:pt x="0" y="47"/>
                  </a:lnTo>
                  <a:lnTo>
                    <a:pt x="35" y="47"/>
                  </a:lnTo>
                  <a:lnTo>
                    <a:pt x="35" y="0"/>
                  </a:lnTo>
                  <a:lnTo>
                    <a:pt x="3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217">
              <a:extLst>
                <a:ext uri="{FF2B5EF4-FFF2-40B4-BE49-F238E27FC236}">
                  <a16:creationId xmlns:a16="http://schemas.microsoft.com/office/drawing/2014/main" id="{874BBD77-6A2B-4929-9E60-95D2600C9745}"/>
                </a:ext>
              </a:extLst>
            </p:cNvPr>
            <p:cNvSpPr>
              <a:spLocks/>
            </p:cNvSpPr>
            <p:nvPr/>
          </p:nvSpPr>
          <p:spPr bwMode="auto">
            <a:xfrm>
              <a:off x="4430713" y="6640513"/>
              <a:ext cx="41275" cy="84138"/>
            </a:xfrm>
            <a:custGeom>
              <a:avLst/>
              <a:gdLst>
                <a:gd name="T0" fmla="*/ 126 w 203"/>
                <a:gd name="T1" fmla="*/ 296 h 406"/>
                <a:gd name="T2" fmla="*/ 129 w 203"/>
                <a:gd name="T3" fmla="*/ 291 h 406"/>
                <a:gd name="T4" fmla="*/ 126 w 203"/>
                <a:gd name="T5" fmla="*/ 296 h 406"/>
                <a:gd name="T6" fmla="*/ 126 w 203"/>
                <a:gd name="T7" fmla="*/ 296 h 406"/>
                <a:gd name="T8" fmla="*/ 129 w 203"/>
                <a:gd name="T9" fmla="*/ 291 h 406"/>
                <a:gd name="T10" fmla="*/ 126 w 203"/>
                <a:gd name="T11" fmla="*/ 296 h 406"/>
                <a:gd name="T12" fmla="*/ 148 w 203"/>
                <a:gd name="T13" fmla="*/ 319 h 406"/>
                <a:gd name="T14" fmla="*/ 170 w 203"/>
                <a:gd name="T15" fmla="*/ 389 h 406"/>
                <a:gd name="T16" fmla="*/ 187 w 203"/>
                <a:gd name="T17" fmla="*/ 389 h 406"/>
                <a:gd name="T18" fmla="*/ 187 w 203"/>
                <a:gd name="T19" fmla="*/ 373 h 406"/>
                <a:gd name="T20" fmla="*/ 33 w 203"/>
                <a:gd name="T21" fmla="*/ 373 h 406"/>
                <a:gd name="T22" fmla="*/ 33 w 203"/>
                <a:gd name="T23" fmla="*/ 282 h 406"/>
                <a:gd name="T24" fmla="*/ 33 w 203"/>
                <a:gd name="T25" fmla="*/ 0 h 406"/>
                <a:gd name="T26" fmla="*/ 0 w 203"/>
                <a:gd name="T27" fmla="*/ 0 h 406"/>
                <a:gd name="T28" fmla="*/ 0 w 203"/>
                <a:gd name="T29" fmla="*/ 282 h 406"/>
                <a:gd name="T30" fmla="*/ 0 w 203"/>
                <a:gd name="T31" fmla="*/ 406 h 406"/>
                <a:gd name="T32" fmla="*/ 203 w 203"/>
                <a:gd name="T33" fmla="*/ 406 h 406"/>
                <a:gd name="T34" fmla="*/ 203 w 203"/>
                <a:gd name="T35" fmla="*/ 389 h 406"/>
                <a:gd name="T36" fmla="*/ 174 w 203"/>
                <a:gd name="T37" fmla="*/ 297 h 406"/>
                <a:gd name="T38" fmla="*/ 143 w 203"/>
                <a:gd name="T39" fmla="*/ 268 h 406"/>
                <a:gd name="T40" fmla="*/ 126 w 203"/>
                <a:gd name="T41" fmla="*/ 29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406">
                  <a:moveTo>
                    <a:pt x="126" y="296"/>
                  </a:moveTo>
                  <a:lnTo>
                    <a:pt x="129" y="291"/>
                  </a:lnTo>
                  <a:lnTo>
                    <a:pt x="126" y="296"/>
                  </a:lnTo>
                  <a:lnTo>
                    <a:pt x="126" y="296"/>
                  </a:lnTo>
                  <a:lnTo>
                    <a:pt x="129" y="291"/>
                  </a:lnTo>
                  <a:lnTo>
                    <a:pt x="126" y="296"/>
                  </a:lnTo>
                  <a:cubicBezTo>
                    <a:pt x="126" y="296"/>
                    <a:pt x="137" y="304"/>
                    <a:pt x="148" y="319"/>
                  </a:cubicBezTo>
                  <a:cubicBezTo>
                    <a:pt x="159" y="334"/>
                    <a:pt x="170" y="356"/>
                    <a:pt x="170" y="389"/>
                  </a:cubicBezTo>
                  <a:lnTo>
                    <a:pt x="187" y="389"/>
                  </a:lnTo>
                  <a:lnTo>
                    <a:pt x="187" y="373"/>
                  </a:lnTo>
                  <a:lnTo>
                    <a:pt x="33" y="373"/>
                  </a:lnTo>
                  <a:lnTo>
                    <a:pt x="33" y="282"/>
                  </a:lnTo>
                  <a:lnTo>
                    <a:pt x="33" y="0"/>
                  </a:lnTo>
                  <a:lnTo>
                    <a:pt x="0" y="0"/>
                  </a:lnTo>
                  <a:lnTo>
                    <a:pt x="0" y="282"/>
                  </a:lnTo>
                  <a:lnTo>
                    <a:pt x="0" y="406"/>
                  </a:lnTo>
                  <a:lnTo>
                    <a:pt x="203" y="406"/>
                  </a:lnTo>
                  <a:lnTo>
                    <a:pt x="203" y="389"/>
                  </a:lnTo>
                  <a:cubicBezTo>
                    <a:pt x="203" y="347"/>
                    <a:pt x="189" y="317"/>
                    <a:pt x="174" y="297"/>
                  </a:cubicBezTo>
                  <a:cubicBezTo>
                    <a:pt x="159" y="277"/>
                    <a:pt x="144" y="269"/>
                    <a:pt x="143" y="268"/>
                  </a:cubicBezTo>
                  <a:lnTo>
                    <a:pt x="126" y="29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218">
              <a:extLst>
                <a:ext uri="{FF2B5EF4-FFF2-40B4-BE49-F238E27FC236}">
                  <a16:creationId xmlns:a16="http://schemas.microsoft.com/office/drawing/2014/main" id="{F629A98A-B6DF-498C-8105-830625C8A838}"/>
                </a:ext>
              </a:extLst>
            </p:cNvPr>
            <p:cNvSpPr>
              <a:spLocks/>
            </p:cNvSpPr>
            <p:nvPr/>
          </p:nvSpPr>
          <p:spPr bwMode="auto">
            <a:xfrm>
              <a:off x="4395788" y="6696076"/>
              <a:ext cx="41275" cy="28575"/>
            </a:xfrm>
            <a:custGeom>
              <a:avLst/>
              <a:gdLst>
                <a:gd name="T0" fmla="*/ 60 w 203"/>
                <a:gd name="T1" fmla="*/ 0 h 138"/>
                <a:gd name="T2" fmla="*/ 29 w 203"/>
                <a:gd name="T3" fmla="*/ 29 h 138"/>
                <a:gd name="T4" fmla="*/ 0 w 203"/>
                <a:gd name="T5" fmla="*/ 121 h 138"/>
                <a:gd name="T6" fmla="*/ 0 w 203"/>
                <a:gd name="T7" fmla="*/ 138 h 138"/>
                <a:gd name="T8" fmla="*/ 203 w 203"/>
                <a:gd name="T9" fmla="*/ 138 h 138"/>
                <a:gd name="T10" fmla="*/ 203 w 203"/>
                <a:gd name="T11" fmla="*/ 14 h 138"/>
                <a:gd name="T12" fmla="*/ 170 w 203"/>
                <a:gd name="T13" fmla="*/ 14 h 138"/>
                <a:gd name="T14" fmla="*/ 170 w 203"/>
                <a:gd name="T15" fmla="*/ 105 h 138"/>
                <a:gd name="T16" fmla="*/ 16 w 203"/>
                <a:gd name="T17" fmla="*/ 105 h 138"/>
                <a:gd name="T18" fmla="*/ 16 w 203"/>
                <a:gd name="T19" fmla="*/ 121 h 138"/>
                <a:gd name="T20" fmla="*/ 33 w 203"/>
                <a:gd name="T21" fmla="*/ 121 h 138"/>
                <a:gd name="T22" fmla="*/ 56 w 203"/>
                <a:gd name="T23" fmla="*/ 49 h 138"/>
                <a:gd name="T24" fmla="*/ 71 w 203"/>
                <a:gd name="T25" fmla="*/ 33 h 138"/>
                <a:gd name="T26" fmla="*/ 76 w 203"/>
                <a:gd name="T27" fmla="*/ 29 h 138"/>
                <a:gd name="T28" fmla="*/ 77 w 203"/>
                <a:gd name="T29" fmla="*/ 28 h 138"/>
                <a:gd name="T30" fmla="*/ 78 w 203"/>
                <a:gd name="T31" fmla="*/ 28 h 138"/>
                <a:gd name="T32" fmla="*/ 74 w 203"/>
                <a:gd name="T33" fmla="*/ 23 h 138"/>
                <a:gd name="T34" fmla="*/ 78 w 203"/>
                <a:gd name="T35" fmla="*/ 28 h 138"/>
                <a:gd name="T36" fmla="*/ 78 w 203"/>
                <a:gd name="T37" fmla="*/ 28 h 138"/>
                <a:gd name="T38" fmla="*/ 74 w 203"/>
                <a:gd name="T39" fmla="*/ 23 h 138"/>
                <a:gd name="T40" fmla="*/ 78 w 203"/>
                <a:gd name="T41" fmla="*/ 28 h 138"/>
                <a:gd name="T42" fmla="*/ 60 w 203"/>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38">
                  <a:moveTo>
                    <a:pt x="60" y="0"/>
                  </a:moveTo>
                  <a:cubicBezTo>
                    <a:pt x="59" y="1"/>
                    <a:pt x="44" y="9"/>
                    <a:pt x="29" y="29"/>
                  </a:cubicBezTo>
                  <a:cubicBezTo>
                    <a:pt x="15" y="49"/>
                    <a:pt x="0" y="79"/>
                    <a:pt x="0" y="121"/>
                  </a:cubicBezTo>
                  <a:lnTo>
                    <a:pt x="0" y="138"/>
                  </a:lnTo>
                  <a:lnTo>
                    <a:pt x="203" y="138"/>
                  </a:lnTo>
                  <a:lnTo>
                    <a:pt x="203" y="14"/>
                  </a:lnTo>
                  <a:lnTo>
                    <a:pt x="170" y="14"/>
                  </a:lnTo>
                  <a:lnTo>
                    <a:pt x="170" y="105"/>
                  </a:lnTo>
                  <a:lnTo>
                    <a:pt x="16" y="105"/>
                  </a:lnTo>
                  <a:lnTo>
                    <a:pt x="16" y="121"/>
                  </a:lnTo>
                  <a:lnTo>
                    <a:pt x="33" y="121"/>
                  </a:lnTo>
                  <a:cubicBezTo>
                    <a:pt x="33" y="87"/>
                    <a:pt x="45" y="64"/>
                    <a:pt x="56" y="49"/>
                  </a:cubicBezTo>
                  <a:cubicBezTo>
                    <a:pt x="62" y="42"/>
                    <a:pt x="67" y="36"/>
                    <a:pt x="71" y="33"/>
                  </a:cubicBezTo>
                  <a:cubicBezTo>
                    <a:pt x="74" y="31"/>
                    <a:pt x="75" y="30"/>
                    <a:pt x="76" y="29"/>
                  </a:cubicBezTo>
                  <a:lnTo>
                    <a:pt x="77" y="28"/>
                  </a:lnTo>
                  <a:lnTo>
                    <a:pt x="78" y="28"/>
                  </a:lnTo>
                  <a:lnTo>
                    <a:pt x="74" y="23"/>
                  </a:lnTo>
                  <a:lnTo>
                    <a:pt x="78" y="28"/>
                  </a:lnTo>
                  <a:lnTo>
                    <a:pt x="78" y="28"/>
                  </a:lnTo>
                  <a:lnTo>
                    <a:pt x="74" y="23"/>
                  </a:lnTo>
                  <a:lnTo>
                    <a:pt x="78" y="28"/>
                  </a:lnTo>
                  <a:lnTo>
                    <a:pt x="6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219">
              <a:extLst>
                <a:ext uri="{FF2B5EF4-FFF2-40B4-BE49-F238E27FC236}">
                  <a16:creationId xmlns:a16="http://schemas.microsoft.com/office/drawing/2014/main" id="{F3AFD7C3-F83D-4966-9AE9-EF266BE4C52D}"/>
                </a:ext>
              </a:extLst>
            </p:cNvPr>
            <p:cNvSpPr>
              <a:spLocks/>
            </p:cNvSpPr>
            <p:nvPr/>
          </p:nvSpPr>
          <p:spPr bwMode="auto">
            <a:xfrm>
              <a:off x="4346576" y="6550026"/>
              <a:ext cx="30163" cy="19050"/>
            </a:xfrm>
            <a:custGeom>
              <a:avLst/>
              <a:gdLst>
                <a:gd name="T0" fmla="*/ 76 w 152"/>
                <a:gd name="T1" fmla="*/ 17 h 93"/>
                <a:gd name="T2" fmla="*/ 76 w 152"/>
                <a:gd name="T3" fmla="*/ 0 h 93"/>
                <a:gd name="T4" fmla="*/ 0 w 152"/>
                <a:gd name="T5" fmla="*/ 77 h 93"/>
                <a:gd name="T6" fmla="*/ 0 w 152"/>
                <a:gd name="T7" fmla="*/ 93 h 93"/>
                <a:gd name="T8" fmla="*/ 152 w 152"/>
                <a:gd name="T9" fmla="*/ 93 h 93"/>
                <a:gd name="T10" fmla="*/ 152 w 152"/>
                <a:gd name="T11" fmla="*/ 77 h 93"/>
                <a:gd name="T12" fmla="*/ 76 w 152"/>
                <a:gd name="T13" fmla="*/ 0 h 93"/>
                <a:gd name="T14" fmla="*/ 76 w 152"/>
                <a:gd name="T15" fmla="*/ 17 h 93"/>
                <a:gd name="T16" fmla="*/ 76 w 152"/>
                <a:gd name="T17" fmla="*/ 34 h 93"/>
                <a:gd name="T18" fmla="*/ 119 w 152"/>
                <a:gd name="T19" fmla="*/ 77 h 93"/>
                <a:gd name="T20" fmla="*/ 136 w 152"/>
                <a:gd name="T21" fmla="*/ 77 h 93"/>
                <a:gd name="T22" fmla="*/ 136 w 152"/>
                <a:gd name="T23" fmla="*/ 60 h 93"/>
                <a:gd name="T24" fmla="*/ 16 w 152"/>
                <a:gd name="T25" fmla="*/ 60 h 93"/>
                <a:gd name="T26" fmla="*/ 16 w 152"/>
                <a:gd name="T27" fmla="*/ 77 h 93"/>
                <a:gd name="T28" fmla="*/ 33 w 152"/>
                <a:gd name="T29" fmla="*/ 77 h 93"/>
                <a:gd name="T30" fmla="*/ 76 w 152"/>
                <a:gd name="T31" fmla="*/ 34 h 93"/>
                <a:gd name="T32" fmla="*/ 76 w 152"/>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93">
                  <a:moveTo>
                    <a:pt x="76" y="17"/>
                  </a:moveTo>
                  <a:lnTo>
                    <a:pt x="76" y="0"/>
                  </a:lnTo>
                  <a:cubicBezTo>
                    <a:pt x="34" y="0"/>
                    <a:pt x="0" y="35"/>
                    <a:pt x="0" y="77"/>
                  </a:cubicBezTo>
                  <a:lnTo>
                    <a:pt x="0" y="93"/>
                  </a:lnTo>
                  <a:lnTo>
                    <a:pt x="152" y="93"/>
                  </a:lnTo>
                  <a:lnTo>
                    <a:pt x="152" y="77"/>
                  </a:lnTo>
                  <a:cubicBezTo>
                    <a:pt x="152" y="35"/>
                    <a:pt x="118" y="0"/>
                    <a:pt x="76" y="0"/>
                  </a:cubicBezTo>
                  <a:lnTo>
                    <a:pt x="76" y="17"/>
                  </a:lnTo>
                  <a:lnTo>
                    <a:pt x="76" y="34"/>
                  </a:lnTo>
                  <a:cubicBezTo>
                    <a:pt x="100" y="34"/>
                    <a:pt x="119" y="53"/>
                    <a:pt x="119" y="77"/>
                  </a:cubicBezTo>
                  <a:lnTo>
                    <a:pt x="136" y="77"/>
                  </a:lnTo>
                  <a:lnTo>
                    <a:pt x="136" y="60"/>
                  </a:lnTo>
                  <a:lnTo>
                    <a:pt x="16" y="60"/>
                  </a:lnTo>
                  <a:lnTo>
                    <a:pt x="16" y="77"/>
                  </a:lnTo>
                  <a:lnTo>
                    <a:pt x="33" y="77"/>
                  </a:lnTo>
                  <a:cubicBezTo>
                    <a:pt x="33" y="53"/>
                    <a:pt x="52" y="34"/>
                    <a:pt x="76" y="34"/>
                  </a:cubicBezTo>
                  <a:lnTo>
                    <a:pt x="76"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220">
              <a:extLst>
                <a:ext uri="{FF2B5EF4-FFF2-40B4-BE49-F238E27FC236}">
                  <a16:creationId xmlns:a16="http://schemas.microsoft.com/office/drawing/2014/main" id="{60F6F0C1-4D46-4EF4-9D69-11981A9BF913}"/>
                </a:ext>
              </a:extLst>
            </p:cNvPr>
            <p:cNvSpPr>
              <a:spLocks/>
            </p:cNvSpPr>
            <p:nvPr/>
          </p:nvSpPr>
          <p:spPr bwMode="auto">
            <a:xfrm>
              <a:off x="4441826" y="6538913"/>
              <a:ext cx="30163" cy="20638"/>
            </a:xfrm>
            <a:custGeom>
              <a:avLst/>
              <a:gdLst>
                <a:gd name="T0" fmla="*/ 76 w 153"/>
                <a:gd name="T1" fmla="*/ 17 h 93"/>
                <a:gd name="T2" fmla="*/ 76 w 153"/>
                <a:gd name="T3" fmla="*/ 0 h 93"/>
                <a:gd name="T4" fmla="*/ 0 w 153"/>
                <a:gd name="T5" fmla="*/ 77 h 93"/>
                <a:gd name="T6" fmla="*/ 0 w 153"/>
                <a:gd name="T7" fmla="*/ 93 h 93"/>
                <a:gd name="T8" fmla="*/ 153 w 153"/>
                <a:gd name="T9" fmla="*/ 93 h 93"/>
                <a:gd name="T10" fmla="*/ 153 w 153"/>
                <a:gd name="T11" fmla="*/ 77 h 93"/>
                <a:gd name="T12" fmla="*/ 76 w 153"/>
                <a:gd name="T13" fmla="*/ 0 h 93"/>
                <a:gd name="T14" fmla="*/ 76 w 153"/>
                <a:gd name="T15" fmla="*/ 17 h 93"/>
                <a:gd name="T16" fmla="*/ 76 w 153"/>
                <a:gd name="T17" fmla="*/ 34 h 93"/>
                <a:gd name="T18" fmla="*/ 119 w 153"/>
                <a:gd name="T19" fmla="*/ 77 h 93"/>
                <a:gd name="T20" fmla="*/ 136 w 153"/>
                <a:gd name="T21" fmla="*/ 77 h 93"/>
                <a:gd name="T22" fmla="*/ 136 w 153"/>
                <a:gd name="T23" fmla="*/ 60 h 93"/>
                <a:gd name="T24" fmla="*/ 17 w 153"/>
                <a:gd name="T25" fmla="*/ 60 h 93"/>
                <a:gd name="T26" fmla="*/ 17 w 153"/>
                <a:gd name="T27" fmla="*/ 77 h 93"/>
                <a:gd name="T28" fmla="*/ 33 w 153"/>
                <a:gd name="T29" fmla="*/ 77 h 93"/>
                <a:gd name="T30" fmla="*/ 76 w 153"/>
                <a:gd name="T31" fmla="*/ 34 h 93"/>
                <a:gd name="T32" fmla="*/ 76 w 153"/>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93">
                  <a:moveTo>
                    <a:pt x="76" y="17"/>
                  </a:moveTo>
                  <a:lnTo>
                    <a:pt x="76" y="0"/>
                  </a:lnTo>
                  <a:cubicBezTo>
                    <a:pt x="34" y="0"/>
                    <a:pt x="0" y="35"/>
                    <a:pt x="0" y="77"/>
                  </a:cubicBezTo>
                  <a:lnTo>
                    <a:pt x="0" y="93"/>
                  </a:lnTo>
                  <a:lnTo>
                    <a:pt x="153" y="93"/>
                  </a:lnTo>
                  <a:lnTo>
                    <a:pt x="153" y="77"/>
                  </a:lnTo>
                  <a:cubicBezTo>
                    <a:pt x="153" y="35"/>
                    <a:pt x="119" y="0"/>
                    <a:pt x="76" y="0"/>
                  </a:cubicBezTo>
                  <a:lnTo>
                    <a:pt x="76" y="17"/>
                  </a:lnTo>
                  <a:lnTo>
                    <a:pt x="76" y="34"/>
                  </a:lnTo>
                  <a:cubicBezTo>
                    <a:pt x="100" y="34"/>
                    <a:pt x="119" y="53"/>
                    <a:pt x="119" y="77"/>
                  </a:cubicBezTo>
                  <a:lnTo>
                    <a:pt x="136" y="77"/>
                  </a:lnTo>
                  <a:lnTo>
                    <a:pt x="136" y="60"/>
                  </a:lnTo>
                  <a:lnTo>
                    <a:pt x="17" y="60"/>
                  </a:lnTo>
                  <a:lnTo>
                    <a:pt x="17" y="77"/>
                  </a:lnTo>
                  <a:lnTo>
                    <a:pt x="33" y="77"/>
                  </a:lnTo>
                  <a:cubicBezTo>
                    <a:pt x="33" y="53"/>
                    <a:pt x="53" y="34"/>
                    <a:pt x="76" y="34"/>
                  </a:cubicBezTo>
                  <a:lnTo>
                    <a:pt x="76" y="1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221">
              <a:extLst>
                <a:ext uri="{FF2B5EF4-FFF2-40B4-BE49-F238E27FC236}">
                  <a16:creationId xmlns:a16="http://schemas.microsoft.com/office/drawing/2014/main" id="{E211212D-B065-4F4B-8741-AC37A2DE38B2}"/>
                </a:ext>
              </a:extLst>
            </p:cNvPr>
            <p:cNvSpPr>
              <a:spLocks/>
            </p:cNvSpPr>
            <p:nvPr/>
          </p:nvSpPr>
          <p:spPr bwMode="auto">
            <a:xfrm>
              <a:off x="4456113" y="6538913"/>
              <a:ext cx="26988" cy="12700"/>
            </a:xfrm>
            <a:custGeom>
              <a:avLst/>
              <a:gdLst>
                <a:gd name="T0" fmla="*/ 4 w 131"/>
                <a:gd name="T1" fmla="*/ 35 h 58"/>
                <a:gd name="T2" fmla="*/ 4 w 131"/>
                <a:gd name="T3" fmla="*/ 35 h 58"/>
                <a:gd name="T4" fmla="*/ 25 w 131"/>
                <a:gd name="T5" fmla="*/ 34 h 58"/>
                <a:gd name="T6" fmla="*/ 70 w 131"/>
                <a:gd name="T7" fmla="*/ 39 h 58"/>
                <a:gd name="T8" fmla="*/ 105 w 131"/>
                <a:gd name="T9" fmla="*/ 58 h 58"/>
                <a:gd name="T10" fmla="*/ 131 w 131"/>
                <a:gd name="T11" fmla="*/ 38 h 58"/>
                <a:gd name="T12" fmla="*/ 78 w 131"/>
                <a:gd name="T13" fmla="*/ 7 h 58"/>
                <a:gd name="T14" fmla="*/ 25 w 131"/>
                <a:gd name="T15" fmla="*/ 0 h 58"/>
                <a:gd name="T16" fmla="*/ 0 w 131"/>
                <a:gd name="T17" fmla="*/ 2 h 58"/>
                <a:gd name="T18" fmla="*/ 4 w 131"/>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58">
                  <a:moveTo>
                    <a:pt x="4" y="35"/>
                  </a:moveTo>
                  <a:lnTo>
                    <a:pt x="4" y="35"/>
                  </a:lnTo>
                  <a:cubicBezTo>
                    <a:pt x="6" y="35"/>
                    <a:pt x="14" y="34"/>
                    <a:pt x="25" y="34"/>
                  </a:cubicBezTo>
                  <a:cubicBezTo>
                    <a:pt x="38" y="34"/>
                    <a:pt x="55" y="35"/>
                    <a:pt x="70" y="39"/>
                  </a:cubicBezTo>
                  <a:cubicBezTo>
                    <a:pt x="85" y="43"/>
                    <a:pt x="98" y="49"/>
                    <a:pt x="105" y="58"/>
                  </a:cubicBezTo>
                  <a:lnTo>
                    <a:pt x="131" y="38"/>
                  </a:lnTo>
                  <a:cubicBezTo>
                    <a:pt x="118" y="20"/>
                    <a:pt x="98" y="11"/>
                    <a:pt x="78" y="7"/>
                  </a:cubicBezTo>
                  <a:cubicBezTo>
                    <a:pt x="59" y="1"/>
                    <a:pt x="40" y="0"/>
                    <a:pt x="25" y="0"/>
                  </a:cubicBezTo>
                  <a:cubicBezTo>
                    <a:pt x="11" y="0"/>
                    <a:pt x="1" y="1"/>
                    <a:pt x="0" y="2"/>
                  </a:cubicBezTo>
                  <a:lnTo>
                    <a:pt x="4" y="3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95" name="Image 194" descr="Une image contenant texte, pièce&#10;&#10;Description générée automatiquement">
            <a:extLst>
              <a:ext uri="{FF2B5EF4-FFF2-40B4-BE49-F238E27FC236}">
                <a16:creationId xmlns:a16="http://schemas.microsoft.com/office/drawing/2014/main" id="{2F9D7713-8DCB-407C-BC85-06A459EF54E1}"/>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488323" y="2543552"/>
            <a:ext cx="770676" cy="584200"/>
          </a:xfrm>
          <a:prstGeom prst="rect">
            <a:avLst/>
          </a:prstGeom>
        </p:spPr>
      </p:pic>
      <p:cxnSp>
        <p:nvCxnSpPr>
          <p:cNvPr id="197" name="Connecteur droit avec flèche 196">
            <a:extLst>
              <a:ext uri="{FF2B5EF4-FFF2-40B4-BE49-F238E27FC236}">
                <a16:creationId xmlns:a16="http://schemas.microsoft.com/office/drawing/2014/main" id="{81A0D0E7-FFEB-4E9D-8738-B924727B933D}"/>
              </a:ext>
            </a:extLst>
          </p:cNvPr>
          <p:cNvCxnSpPr>
            <a:cxnSpLocks/>
          </p:cNvCxnSpPr>
          <p:nvPr/>
        </p:nvCxnSpPr>
        <p:spPr>
          <a:xfrm>
            <a:off x="1459380" y="3243922"/>
            <a:ext cx="1901998" cy="0"/>
          </a:xfrm>
          <a:prstGeom prst="straightConnector1">
            <a:avLst/>
          </a:prstGeom>
          <a:ln w="19050">
            <a:solidFill>
              <a:srgbClr val="1B9D91"/>
            </a:solidFill>
            <a:tailEnd type="triangle"/>
          </a:ln>
        </p:spPr>
        <p:style>
          <a:lnRef idx="1">
            <a:schemeClr val="accent1"/>
          </a:lnRef>
          <a:fillRef idx="0">
            <a:schemeClr val="accent1"/>
          </a:fillRef>
          <a:effectRef idx="0">
            <a:schemeClr val="accent1"/>
          </a:effectRef>
          <a:fontRef idx="minor">
            <a:schemeClr val="tx1"/>
          </a:fontRef>
        </p:style>
      </p:cxnSp>
      <p:sp>
        <p:nvSpPr>
          <p:cNvPr id="198" name="Arrow24" descr="{&quot;Key&quot;:&quot;POWER_USER_SHAPE_ICON&quot;,&quot;Value&quot;:&quot;POWER_USER_SHAPE_ICON_STYLE_1&quot;}">
            <a:extLst>
              <a:ext uri="{FF2B5EF4-FFF2-40B4-BE49-F238E27FC236}">
                <a16:creationId xmlns:a16="http://schemas.microsoft.com/office/drawing/2014/main" id="{6EAF027A-25B1-4986-835D-DF3D41EEA01A}"/>
              </a:ext>
            </a:extLst>
          </p:cNvPr>
          <p:cNvSpPr>
            <a:spLocks noChangeAspect="1"/>
          </p:cNvSpPr>
          <p:nvPr/>
        </p:nvSpPr>
        <p:spPr bwMode="auto">
          <a:xfrm rot="15666150" flipV="1">
            <a:off x="1977813" y="2660646"/>
            <a:ext cx="692538" cy="2188020"/>
          </a:xfrm>
          <a:custGeom>
            <a:avLst/>
            <a:gdLst>
              <a:gd name="T0" fmla="*/ 657 w 952"/>
              <a:gd name="T1" fmla="*/ 1166 h 1430"/>
              <a:gd name="T2" fmla="*/ 637 w 952"/>
              <a:gd name="T3" fmla="*/ 1160 h 1430"/>
              <a:gd name="T4" fmla="*/ 614 w 952"/>
              <a:gd name="T5" fmla="*/ 1151 h 1430"/>
              <a:gd name="T6" fmla="*/ 591 w 952"/>
              <a:gd name="T7" fmla="*/ 1142 h 1430"/>
              <a:gd name="T8" fmla="*/ 490 w 952"/>
              <a:gd name="T9" fmla="*/ 1095 h 1430"/>
              <a:gd name="T10" fmla="*/ 267 w 952"/>
              <a:gd name="T11" fmla="*/ 923 h 1430"/>
              <a:gd name="T12" fmla="*/ 171 w 952"/>
              <a:gd name="T13" fmla="*/ 796 h 1430"/>
              <a:gd name="T14" fmla="*/ 106 w 952"/>
              <a:gd name="T15" fmla="*/ 645 h 1430"/>
              <a:gd name="T16" fmla="*/ 90 w 952"/>
              <a:gd name="T17" fmla="*/ 564 h 1430"/>
              <a:gd name="T18" fmla="*/ 89 w 952"/>
              <a:gd name="T19" fmla="*/ 482 h 1430"/>
              <a:gd name="T20" fmla="*/ 100 w 952"/>
              <a:gd name="T21" fmla="*/ 402 h 1430"/>
              <a:gd name="T22" fmla="*/ 111 w 952"/>
              <a:gd name="T23" fmla="*/ 364 h 1430"/>
              <a:gd name="T24" fmla="*/ 113 w 952"/>
              <a:gd name="T25" fmla="*/ 359 h 1430"/>
              <a:gd name="T26" fmla="*/ 113 w 952"/>
              <a:gd name="T27" fmla="*/ 358 h 1430"/>
              <a:gd name="T28" fmla="*/ 113 w 952"/>
              <a:gd name="T29" fmla="*/ 359 h 1430"/>
              <a:gd name="T30" fmla="*/ 113 w 952"/>
              <a:gd name="T31" fmla="*/ 358 h 1430"/>
              <a:gd name="T32" fmla="*/ 114 w 952"/>
              <a:gd name="T33" fmla="*/ 355 h 1430"/>
              <a:gd name="T34" fmla="*/ 118 w 952"/>
              <a:gd name="T35" fmla="*/ 345 h 1430"/>
              <a:gd name="T36" fmla="*/ 126 w 952"/>
              <a:gd name="T37" fmla="*/ 326 h 1430"/>
              <a:gd name="T38" fmla="*/ 143 w 952"/>
              <a:gd name="T39" fmla="*/ 291 h 1430"/>
              <a:gd name="T40" fmla="*/ 162 w 952"/>
              <a:gd name="T41" fmla="*/ 258 h 1430"/>
              <a:gd name="T42" fmla="*/ 184 w 952"/>
              <a:gd name="T43" fmla="*/ 227 h 1430"/>
              <a:gd name="T44" fmla="*/ 208 w 952"/>
              <a:gd name="T45" fmla="*/ 198 h 1430"/>
              <a:gd name="T46" fmla="*/ 314 w 952"/>
              <a:gd name="T47" fmla="*/ 107 h 1430"/>
              <a:gd name="T48" fmla="*/ 420 w 952"/>
              <a:gd name="T49" fmla="*/ 50 h 1430"/>
              <a:gd name="T50" fmla="*/ 467 w 952"/>
              <a:gd name="T51" fmla="*/ 31 h 1430"/>
              <a:gd name="T52" fmla="*/ 509 w 952"/>
              <a:gd name="T53" fmla="*/ 18 h 1430"/>
              <a:gd name="T54" fmla="*/ 542 w 952"/>
              <a:gd name="T55" fmla="*/ 9 h 1430"/>
              <a:gd name="T56" fmla="*/ 568 w 952"/>
              <a:gd name="T57" fmla="*/ 4 h 1430"/>
              <a:gd name="T58" fmla="*/ 589 w 952"/>
              <a:gd name="T59" fmla="*/ 0 h 1430"/>
              <a:gd name="T60" fmla="*/ 567 w 952"/>
              <a:gd name="T61" fmla="*/ 2 h 1430"/>
              <a:gd name="T62" fmla="*/ 541 w 952"/>
              <a:gd name="T63" fmla="*/ 5 h 1430"/>
              <a:gd name="T64" fmla="*/ 507 w 952"/>
              <a:gd name="T65" fmla="*/ 10 h 1430"/>
              <a:gd name="T66" fmla="*/ 464 w 952"/>
              <a:gd name="T67" fmla="*/ 19 h 1430"/>
              <a:gd name="T68" fmla="*/ 414 w 952"/>
              <a:gd name="T69" fmla="*/ 32 h 1430"/>
              <a:gd name="T70" fmla="*/ 298 w 952"/>
              <a:gd name="T71" fmla="*/ 80 h 1430"/>
              <a:gd name="T72" fmla="*/ 175 w 952"/>
              <a:gd name="T73" fmla="*/ 165 h 1430"/>
              <a:gd name="T74" fmla="*/ 69 w 952"/>
              <a:gd name="T75" fmla="*/ 299 h 1430"/>
              <a:gd name="T76" fmla="*/ 59 w 952"/>
              <a:gd name="T77" fmla="*/ 318 h 1430"/>
              <a:gd name="T78" fmla="*/ 54 w 952"/>
              <a:gd name="T79" fmla="*/ 327 h 1430"/>
              <a:gd name="T80" fmla="*/ 53 w 952"/>
              <a:gd name="T81" fmla="*/ 330 h 1430"/>
              <a:gd name="T82" fmla="*/ 52 w 952"/>
              <a:gd name="T83" fmla="*/ 331 h 1430"/>
              <a:gd name="T84" fmla="*/ 51 w 952"/>
              <a:gd name="T85" fmla="*/ 333 h 1430"/>
              <a:gd name="T86" fmla="*/ 49 w 952"/>
              <a:gd name="T87" fmla="*/ 339 h 1430"/>
              <a:gd name="T88" fmla="*/ 31 w 952"/>
              <a:gd name="T89" fmla="*/ 382 h 1430"/>
              <a:gd name="T90" fmla="*/ 8 w 952"/>
              <a:gd name="T91" fmla="*/ 473 h 1430"/>
              <a:gd name="T92" fmla="*/ 0 w 952"/>
              <a:gd name="T93" fmla="*/ 569 h 1430"/>
              <a:gd name="T94" fmla="*/ 8 w 952"/>
              <a:gd name="T95" fmla="*/ 666 h 1430"/>
              <a:gd name="T96" fmla="*/ 65 w 952"/>
              <a:gd name="T97" fmla="*/ 850 h 1430"/>
              <a:gd name="T98" fmla="*/ 161 w 952"/>
              <a:gd name="T99" fmla="*/ 1010 h 1430"/>
              <a:gd name="T100" fmla="*/ 401 w 952"/>
              <a:gd name="T101" fmla="*/ 1238 h 1430"/>
              <a:gd name="T102" fmla="*/ 516 w 952"/>
              <a:gd name="T103" fmla="*/ 1308 h 1430"/>
              <a:gd name="T104" fmla="*/ 541 w 952"/>
              <a:gd name="T105" fmla="*/ 1320 h 1430"/>
              <a:gd name="T106" fmla="*/ 563 w 952"/>
              <a:gd name="T107" fmla="*/ 1332 h 1430"/>
              <a:gd name="T108" fmla="*/ 605 w 952"/>
              <a:gd name="T109" fmla="*/ 1350 h 1430"/>
              <a:gd name="T110" fmla="*/ 582 w 952"/>
              <a:gd name="T111" fmla="*/ 1430 h 1430"/>
              <a:gd name="T112" fmla="*/ 952 w 952"/>
              <a:gd name="T113" fmla="*/ 1337 h 1430"/>
              <a:gd name="T114" fmla="*/ 687 w 952"/>
              <a:gd name="T115" fmla="*/ 1063 h 1430"/>
              <a:gd name="T116" fmla="*/ 657 w 952"/>
              <a:gd name="T117" fmla="*/ 116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52" h="1430">
                <a:moveTo>
                  <a:pt x="657" y="1166"/>
                </a:moveTo>
                <a:cubicBezTo>
                  <a:pt x="651" y="1164"/>
                  <a:pt x="644" y="1162"/>
                  <a:pt x="637" y="1160"/>
                </a:cubicBezTo>
                <a:cubicBezTo>
                  <a:pt x="630" y="1157"/>
                  <a:pt x="622" y="1154"/>
                  <a:pt x="614" y="1151"/>
                </a:cubicBezTo>
                <a:cubicBezTo>
                  <a:pt x="606" y="1148"/>
                  <a:pt x="598" y="1145"/>
                  <a:pt x="591" y="1142"/>
                </a:cubicBezTo>
                <a:cubicBezTo>
                  <a:pt x="562" y="1131"/>
                  <a:pt x="526" y="1114"/>
                  <a:pt x="490" y="1095"/>
                </a:cubicBezTo>
                <a:cubicBezTo>
                  <a:pt x="417" y="1056"/>
                  <a:pt x="337" y="999"/>
                  <a:pt x="267" y="923"/>
                </a:cubicBezTo>
                <a:cubicBezTo>
                  <a:pt x="231" y="885"/>
                  <a:pt x="199" y="842"/>
                  <a:pt x="171" y="796"/>
                </a:cubicBezTo>
                <a:cubicBezTo>
                  <a:pt x="143" y="749"/>
                  <a:pt x="120" y="698"/>
                  <a:pt x="106" y="645"/>
                </a:cubicBezTo>
                <a:cubicBezTo>
                  <a:pt x="99" y="618"/>
                  <a:pt x="94" y="591"/>
                  <a:pt x="90" y="564"/>
                </a:cubicBezTo>
                <a:cubicBezTo>
                  <a:pt x="88" y="537"/>
                  <a:pt x="87" y="509"/>
                  <a:pt x="89" y="482"/>
                </a:cubicBezTo>
                <a:cubicBezTo>
                  <a:pt x="90" y="455"/>
                  <a:pt x="94" y="428"/>
                  <a:pt x="100" y="402"/>
                </a:cubicBezTo>
                <a:cubicBezTo>
                  <a:pt x="103" y="389"/>
                  <a:pt x="107" y="376"/>
                  <a:pt x="111" y="364"/>
                </a:cubicBezTo>
                <a:lnTo>
                  <a:pt x="113" y="359"/>
                </a:lnTo>
                <a:lnTo>
                  <a:pt x="113" y="358"/>
                </a:lnTo>
                <a:cubicBezTo>
                  <a:pt x="113" y="358"/>
                  <a:pt x="112" y="360"/>
                  <a:pt x="113" y="359"/>
                </a:cubicBezTo>
                <a:lnTo>
                  <a:pt x="113" y="358"/>
                </a:lnTo>
                <a:lnTo>
                  <a:pt x="114" y="355"/>
                </a:lnTo>
                <a:lnTo>
                  <a:pt x="118" y="345"/>
                </a:lnTo>
                <a:lnTo>
                  <a:pt x="126" y="326"/>
                </a:lnTo>
                <a:cubicBezTo>
                  <a:pt x="131" y="314"/>
                  <a:pt x="137" y="303"/>
                  <a:pt x="143" y="291"/>
                </a:cubicBezTo>
                <a:cubicBezTo>
                  <a:pt x="149" y="280"/>
                  <a:pt x="156" y="269"/>
                  <a:pt x="162" y="258"/>
                </a:cubicBezTo>
                <a:cubicBezTo>
                  <a:pt x="170" y="247"/>
                  <a:pt x="177" y="237"/>
                  <a:pt x="184" y="227"/>
                </a:cubicBezTo>
                <a:cubicBezTo>
                  <a:pt x="192" y="217"/>
                  <a:pt x="200" y="207"/>
                  <a:pt x="208" y="198"/>
                </a:cubicBezTo>
                <a:cubicBezTo>
                  <a:pt x="241" y="161"/>
                  <a:pt x="277" y="131"/>
                  <a:pt x="314" y="107"/>
                </a:cubicBezTo>
                <a:cubicBezTo>
                  <a:pt x="351" y="83"/>
                  <a:pt x="387" y="64"/>
                  <a:pt x="420" y="50"/>
                </a:cubicBezTo>
                <a:cubicBezTo>
                  <a:pt x="437" y="43"/>
                  <a:pt x="453" y="37"/>
                  <a:pt x="467" y="31"/>
                </a:cubicBezTo>
                <a:cubicBezTo>
                  <a:pt x="482" y="27"/>
                  <a:pt x="496" y="22"/>
                  <a:pt x="509" y="18"/>
                </a:cubicBezTo>
                <a:cubicBezTo>
                  <a:pt x="521" y="15"/>
                  <a:pt x="532" y="12"/>
                  <a:pt x="542" y="9"/>
                </a:cubicBezTo>
                <a:cubicBezTo>
                  <a:pt x="552" y="7"/>
                  <a:pt x="561" y="6"/>
                  <a:pt x="568" y="4"/>
                </a:cubicBezTo>
                <a:cubicBezTo>
                  <a:pt x="581" y="1"/>
                  <a:pt x="589" y="0"/>
                  <a:pt x="589" y="0"/>
                </a:cubicBezTo>
                <a:cubicBezTo>
                  <a:pt x="589" y="0"/>
                  <a:pt x="581" y="0"/>
                  <a:pt x="567" y="2"/>
                </a:cubicBezTo>
                <a:cubicBezTo>
                  <a:pt x="560" y="3"/>
                  <a:pt x="552" y="3"/>
                  <a:pt x="541" y="5"/>
                </a:cubicBezTo>
                <a:cubicBezTo>
                  <a:pt x="531" y="6"/>
                  <a:pt x="520" y="8"/>
                  <a:pt x="507" y="10"/>
                </a:cubicBezTo>
                <a:cubicBezTo>
                  <a:pt x="494" y="12"/>
                  <a:pt x="479" y="15"/>
                  <a:pt x="464" y="19"/>
                </a:cubicBezTo>
                <a:cubicBezTo>
                  <a:pt x="448" y="23"/>
                  <a:pt x="431" y="27"/>
                  <a:pt x="414" y="32"/>
                </a:cubicBezTo>
                <a:cubicBezTo>
                  <a:pt x="378" y="43"/>
                  <a:pt x="339" y="59"/>
                  <a:pt x="298" y="80"/>
                </a:cubicBezTo>
                <a:cubicBezTo>
                  <a:pt x="257" y="101"/>
                  <a:pt x="215" y="129"/>
                  <a:pt x="175" y="165"/>
                </a:cubicBezTo>
                <a:cubicBezTo>
                  <a:pt x="135" y="202"/>
                  <a:pt x="99" y="245"/>
                  <a:pt x="69" y="299"/>
                </a:cubicBezTo>
                <a:lnTo>
                  <a:pt x="59" y="318"/>
                </a:lnTo>
                <a:lnTo>
                  <a:pt x="54" y="327"/>
                </a:lnTo>
                <a:lnTo>
                  <a:pt x="53" y="330"/>
                </a:lnTo>
                <a:lnTo>
                  <a:pt x="52" y="331"/>
                </a:lnTo>
                <a:lnTo>
                  <a:pt x="51" y="333"/>
                </a:lnTo>
                <a:lnTo>
                  <a:pt x="49" y="339"/>
                </a:lnTo>
                <a:cubicBezTo>
                  <a:pt x="42" y="353"/>
                  <a:pt x="36" y="367"/>
                  <a:pt x="31" y="382"/>
                </a:cubicBezTo>
                <a:cubicBezTo>
                  <a:pt x="21" y="411"/>
                  <a:pt x="13" y="441"/>
                  <a:pt x="8" y="473"/>
                </a:cubicBezTo>
                <a:cubicBezTo>
                  <a:pt x="2" y="504"/>
                  <a:pt x="0" y="537"/>
                  <a:pt x="0" y="569"/>
                </a:cubicBezTo>
                <a:cubicBezTo>
                  <a:pt x="1" y="601"/>
                  <a:pt x="3" y="634"/>
                  <a:pt x="8" y="666"/>
                </a:cubicBezTo>
                <a:cubicBezTo>
                  <a:pt x="19" y="730"/>
                  <a:pt x="39" y="792"/>
                  <a:pt x="65" y="850"/>
                </a:cubicBezTo>
                <a:cubicBezTo>
                  <a:pt x="92" y="908"/>
                  <a:pt x="125" y="962"/>
                  <a:pt x="161" y="1010"/>
                </a:cubicBezTo>
                <a:cubicBezTo>
                  <a:pt x="234" y="1108"/>
                  <a:pt x="321" y="1183"/>
                  <a:pt x="401" y="1238"/>
                </a:cubicBezTo>
                <a:cubicBezTo>
                  <a:pt x="442" y="1266"/>
                  <a:pt x="478" y="1288"/>
                  <a:pt x="516" y="1308"/>
                </a:cubicBezTo>
                <a:cubicBezTo>
                  <a:pt x="525" y="1313"/>
                  <a:pt x="533" y="1317"/>
                  <a:pt x="541" y="1320"/>
                </a:cubicBezTo>
                <a:cubicBezTo>
                  <a:pt x="548" y="1324"/>
                  <a:pt x="556" y="1328"/>
                  <a:pt x="563" y="1332"/>
                </a:cubicBezTo>
                <a:cubicBezTo>
                  <a:pt x="578" y="1338"/>
                  <a:pt x="592" y="1344"/>
                  <a:pt x="605" y="1350"/>
                </a:cubicBezTo>
                <a:lnTo>
                  <a:pt x="582" y="1430"/>
                </a:lnTo>
                <a:lnTo>
                  <a:pt x="952" y="1337"/>
                </a:lnTo>
                <a:lnTo>
                  <a:pt x="687" y="1063"/>
                </a:lnTo>
                <a:lnTo>
                  <a:pt x="657" y="1166"/>
                </a:lnTo>
              </a:path>
            </a:pathLst>
          </a:custGeom>
          <a:noFill/>
          <a:ln w="19050">
            <a:solidFill>
              <a:srgbClr val="92D05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ZoneTexte 200">
            <a:extLst>
              <a:ext uri="{FF2B5EF4-FFF2-40B4-BE49-F238E27FC236}">
                <a16:creationId xmlns:a16="http://schemas.microsoft.com/office/drawing/2014/main" id="{EABC7503-0B61-4EA5-BAE1-7BB2BF41731E}"/>
              </a:ext>
            </a:extLst>
          </p:cNvPr>
          <p:cNvSpPr txBox="1"/>
          <p:nvPr/>
        </p:nvSpPr>
        <p:spPr>
          <a:xfrm>
            <a:off x="577282" y="1188044"/>
            <a:ext cx="3732168" cy="523220"/>
          </a:xfrm>
          <a:prstGeom prst="rect">
            <a:avLst/>
          </a:prstGeom>
          <a:noFill/>
        </p:spPr>
        <p:txBody>
          <a:bodyPr wrap="square" rtlCol="0">
            <a:spAutoFit/>
          </a:bodyPr>
          <a:lstStyle/>
          <a:p>
            <a:pPr algn="ctr"/>
            <a:r>
              <a:rPr lang="fr-FR" sz="1400" b="1" dirty="0">
                <a:solidFill>
                  <a:schemeClr val="tx2"/>
                </a:solidFill>
              </a:rPr>
              <a:t>Demi-produit au prix du marché </a:t>
            </a:r>
            <a:r>
              <a:rPr lang="fr-FR" sz="1400" dirty="0">
                <a:solidFill>
                  <a:schemeClr val="tx2"/>
                </a:solidFill>
              </a:rPr>
              <a:t>avec une </a:t>
            </a:r>
            <a:r>
              <a:rPr lang="fr-FR" sz="1400" b="1" dirty="0">
                <a:solidFill>
                  <a:schemeClr val="tx2"/>
                </a:solidFill>
              </a:rPr>
              <a:t>reprise des chutes à un prix moyen </a:t>
            </a:r>
          </a:p>
        </p:txBody>
      </p:sp>
      <p:sp>
        <p:nvSpPr>
          <p:cNvPr id="202" name="ZoneTexte 201">
            <a:extLst>
              <a:ext uri="{FF2B5EF4-FFF2-40B4-BE49-F238E27FC236}">
                <a16:creationId xmlns:a16="http://schemas.microsoft.com/office/drawing/2014/main" id="{3899568A-4058-4D74-B20E-51D05C84F10C}"/>
              </a:ext>
            </a:extLst>
          </p:cNvPr>
          <p:cNvSpPr txBox="1"/>
          <p:nvPr/>
        </p:nvSpPr>
        <p:spPr>
          <a:xfrm>
            <a:off x="577282" y="5614463"/>
            <a:ext cx="3732168" cy="461665"/>
          </a:xfrm>
          <a:prstGeom prst="rect">
            <a:avLst/>
          </a:prstGeom>
          <a:noFill/>
        </p:spPr>
        <p:txBody>
          <a:bodyPr wrap="square" rtlCol="0">
            <a:spAutoFit/>
          </a:bodyPr>
          <a:lstStyle/>
          <a:p>
            <a:pPr algn="ctr">
              <a:buClr>
                <a:srgbClr val="1B9D91"/>
              </a:buClr>
              <a:buSzPct val="125000"/>
            </a:pPr>
            <a:r>
              <a:rPr lang="fr-FR" sz="1200" b="1" dirty="0">
                <a:solidFill>
                  <a:schemeClr val="tx2"/>
                </a:solidFill>
              </a:rPr>
              <a:t>Prix de reprise des chutes stable et garanti sur la durée du contrat</a:t>
            </a:r>
          </a:p>
        </p:txBody>
      </p:sp>
      <p:sp>
        <p:nvSpPr>
          <p:cNvPr id="203" name="Est égal à 202">
            <a:extLst>
              <a:ext uri="{FF2B5EF4-FFF2-40B4-BE49-F238E27FC236}">
                <a16:creationId xmlns:a16="http://schemas.microsoft.com/office/drawing/2014/main" id="{4BEEEF38-4809-4F17-9E33-7833C941A2EA}"/>
              </a:ext>
            </a:extLst>
          </p:cNvPr>
          <p:cNvSpPr/>
          <p:nvPr/>
        </p:nvSpPr>
        <p:spPr>
          <a:xfrm>
            <a:off x="2182004" y="2680356"/>
            <a:ext cx="284455" cy="310592"/>
          </a:xfrm>
          <a:prstGeom prst="mathEqual">
            <a:avLst/>
          </a:prstGeom>
          <a:solidFill>
            <a:srgbClr val="1B9D9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5" name="ZoneTexte 214">
            <a:extLst>
              <a:ext uri="{FF2B5EF4-FFF2-40B4-BE49-F238E27FC236}">
                <a16:creationId xmlns:a16="http://schemas.microsoft.com/office/drawing/2014/main" id="{3ACB9BB0-CDB0-4883-B05F-CC8D953352CC}"/>
              </a:ext>
            </a:extLst>
          </p:cNvPr>
          <p:cNvSpPr txBox="1"/>
          <p:nvPr/>
        </p:nvSpPr>
        <p:spPr>
          <a:xfrm>
            <a:off x="2391764" y="2371635"/>
            <a:ext cx="837812" cy="230832"/>
          </a:xfrm>
          <a:prstGeom prst="rect">
            <a:avLst/>
          </a:prstGeom>
          <a:noFill/>
        </p:spPr>
        <p:txBody>
          <a:bodyPr wrap="square" rtlCol="0">
            <a:spAutoFit/>
          </a:bodyPr>
          <a:lstStyle/>
          <a:p>
            <a:pPr algn="ctr"/>
            <a:r>
              <a:rPr lang="fr-FR" sz="900" b="1" dirty="0">
                <a:solidFill>
                  <a:srgbClr val="1B9D91"/>
                </a:solidFill>
              </a:rPr>
              <a:t>Marchés</a:t>
            </a:r>
          </a:p>
        </p:txBody>
      </p:sp>
      <p:sp>
        <p:nvSpPr>
          <p:cNvPr id="216" name="Est égal à 215">
            <a:extLst>
              <a:ext uri="{FF2B5EF4-FFF2-40B4-BE49-F238E27FC236}">
                <a16:creationId xmlns:a16="http://schemas.microsoft.com/office/drawing/2014/main" id="{B3C949B5-42A7-422B-8DDB-3CB2F67DF295}"/>
              </a:ext>
            </a:extLst>
          </p:cNvPr>
          <p:cNvSpPr/>
          <p:nvPr/>
        </p:nvSpPr>
        <p:spPr>
          <a:xfrm>
            <a:off x="2205961" y="4338560"/>
            <a:ext cx="308201" cy="282390"/>
          </a:xfrm>
          <a:prstGeom prst="mathEqual">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grpSp>
        <p:nvGrpSpPr>
          <p:cNvPr id="233" name="Line_chart5" descr="{&quot;Key&quot;:&quot;POWER_USER_SHAPE_ICON&quot;,&quot;Value&quot;:&quot;POWER_USER_SHAPE_ICON_STYLE_1&quot;}">
            <a:extLst>
              <a:ext uri="{FF2B5EF4-FFF2-40B4-BE49-F238E27FC236}">
                <a16:creationId xmlns:a16="http://schemas.microsoft.com/office/drawing/2014/main" id="{2F19A80F-0012-47BC-AF7D-23274AD9B280}"/>
              </a:ext>
            </a:extLst>
          </p:cNvPr>
          <p:cNvGrpSpPr>
            <a:grpSpLocks noChangeAspect="1"/>
          </p:cNvGrpSpPr>
          <p:nvPr>
            <p:custDataLst>
              <p:tags r:id="rId3"/>
            </p:custDataLst>
          </p:nvPr>
        </p:nvGrpSpPr>
        <p:grpSpPr>
          <a:xfrm>
            <a:off x="2605852" y="4260038"/>
            <a:ext cx="466655" cy="434356"/>
            <a:chOff x="8358188" y="1762126"/>
            <a:chExt cx="665163" cy="619125"/>
          </a:xfrm>
          <a:solidFill>
            <a:srgbClr val="92D050"/>
          </a:solidFill>
        </p:grpSpPr>
        <p:sp>
          <p:nvSpPr>
            <p:cNvPr id="234" name="Freeform 8">
              <a:extLst>
                <a:ext uri="{FF2B5EF4-FFF2-40B4-BE49-F238E27FC236}">
                  <a16:creationId xmlns:a16="http://schemas.microsoft.com/office/drawing/2014/main" id="{41C0F441-AE20-415A-ABED-B73D7F3DC360}"/>
                </a:ext>
              </a:extLst>
            </p:cNvPr>
            <p:cNvSpPr>
              <a:spLocks/>
            </p:cNvSpPr>
            <p:nvPr/>
          </p:nvSpPr>
          <p:spPr bwMode="auto">
            <a:xfrm>
              <a:off x="8358188" y="1762126"/>
              <a:ext cx="665163" cy="619125"/>
            </a:xfrm>
            <a:custGeom>
              <a:avLst/>
              <a:gdLst>
                <a:gd name="T0" fmla="*/ 419 w 419"/>
                <a:gd name="T1" fmla="*/ 390 h 390"/>
                <a:gd name="T2" fmla="*/ 0 w 419"/>
                <a:gd name="T3" fmla="*/ 390 h 390"/>
                <a:gd name="T4" fmla="*/ 0 w 419"/>
                <a:gd name="T5" fmla="*/ 0 h 390"/>
                <a:gd name="T6" fmla="*/ 30 w 419"/>
                <a:gd name="T7" fmla="*/ 0 h 390"/>
                <a:gd name="T8" fmla="*/ 30 w 419"/>
                <a:gd name="T9" fmla="*/ 359 h 390"/>
                <a:gd name="T10" fmla="*/ 419 w 419"/>
                <a:gd name="T11" fmla="*/ 359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59"/>
                  </a:lnTo>
                  <a:lnTo>
                    <a:pt x="419" y="359"/>
                  </a:lnTo>
                  <a:lnTo>
                    <a:pt x="419" y="3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94">
              <a:extLst>
                <a:ext uri="{FF2B5EF4-FFF2-40B4-BE49-F238E27FC236}">
                  <a16:creationId xmlns:a16="http://schemas.microsoft.com/office/drawing/2014/main" id="{337CF8E2-A535-4647-84A0-F10848B39F9B}"/>
                </a:ext>
              </a:extLst>
            </p:cNvPr>
            <p:cNvSpPr>
              <a:spLocks/>
            </p:cNvSpPr>
            <p:nvPr/>
          </p:nvSpPr>
          <p:spPr bwMode="auto">
            <a:xfrm>
              <a:off x="8359776" y="1857376"/>
              <a:ext cx="663575" cy="476250"/>
            </a:xfrm>
            <a:custGeom>
              <a:avLst/>
              <a:gdLst>
                <a:gd name="T0" fmla="*/ 872 w 872"/>
                <a:gd name="T1" fmla="*/ 161 h 625"/>
                <a:gd name="T2" fmla="*/ 751 w 872"/>
                <a:gd name="T3" fmla="*/ 199 h 625"/>
                <a:gd name="T4" fmla="*/ 670 w 872"/>
                <a:gd name="T5" fmla="*/ 102 h 625"/>
                <a:gd name="T6" fmla="*/ 578 w 872"/>
                <a:gd name="T7" fmla="*/ 6 h 625"/>
                <a:gd name="T8" fmla="*/ 504 w 872"/>
                <a:gd name="T9" fmla="*/ 24 h 625"/>
                <a:gd name="T10" fmla="*/ 431 w 872"/>
                <a:gd name="T11" fmla="*/ 248 h 625"/>
                <a:gd name="T12" fmla="*/ 402 w 872"/>
                <a:gd name="T13" fmla="*/ 391 h 625"/>
                <a:gd name="T14" fmla="*/ 373 w 872"/>
                <a:gd name="T15" fmla="*/ 437 h 625"/>
                <a:gd name="T16" fmla="*/ 282 w 872"/>
                <a:gd name="T17" fmla="*/ 383 h 625"/>
                <a:gd name="T18" fmla="*/ 208 w 872"/>
                <a:gd name="T19" fmla="*/ 334 h 625"/>
                <a:gd name="T20" fmla="*/ 111 w 872"/>
                <a:gd name="T21" fmla="*/ 358 h 625"/>
                <a:gd name="T22" fmla="*/ 20 w 872"/>
                <a:gd name="T23" fmla="*/ 516 h 625"/>
                <a:gd name="T24" fmla="*/ 0 w 872"/>
                <a:gd name="T25" fmla="*/ 619 h 625"/>
                <a:gd name="T26" fmla="*/ 62 w 872"/>
                <a:gd name="T27" fmla="*/ 625 h 625"/>
                <a:gd name="T28" fmla="*/ 148 w 872"/>
                <a:gd name="T29" fmla="*/ 408 h 625"/>
                <a:gd name="T30" fmla="*/ 197 w 872"/>
                <a:gd name="T31" fmla="*/ 396 h 625"/>
                <a:gd name="T32" fmla="*/ 239 w 872"/>
                <a:gd name="T33" fmla="*/ 429 h 625"/>
                <a:gd name="T34" fmla="*/ 373 w 872"/>
                <a:gd name="T35" fmla="*/ 500 h 625"/>
                <a:gd name="T36" fmla="*/ 461 w 872"/>
                <a:gd name="T37" fmla="*/ 411 h 625"/>
                <a:gd name="T38" fmla="*/ 493 w 872"/>
                <a:gd name="T39" fmla="*/ 258 h 625"/>
                <a:gd name="T40" fmla="*/ 544 w 872"/>
                <a:gd name="T41" fmla="*/ 72 h 625"/>
                <a:gd name="T42" fmla="*/ 562 w 872"/>
                <a:gd name="T43" fmla="*/ 67 h 625"/>
                <a:gd name="T44" fmla="*/ 611 w 872"/>
                <a:gd name="T45" fmla="*/ 123 h 625"/>
                <a:gd name="T46" fmla="*/ 737 w 872"/>
                <a:gd name="T47" fmla="*/ 260 h 625"/>
                <a:gd name="T48" fmla="*/ 770 w 872"/>
                <a:gd name="T49" fmla="*/ 264 h 625"/>
                <a:gd name="T50" fmla="*/ 872 w 872"/>
                <a:gd name="T51" fmla="*/ 235 h 625"/>
                <a:gd name="T52" fmla="*/ 872 w 872"/>
                <a:gd name="T53" fmla="*/ 1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2" h="625">
                  <a:moveTo>
                    <a:pt x="872" y="161"/>
                  </a:moveTo>
                  <a:cubicBezTo>
                    <a:pt x="839" y="184"/>
                    <a:pt x="791" y="209"/>
                    <a:pt x="751" y="199"/>
                  </a:cubicBezTo>
                  <a:cubicBezTo>
                    <a:pt x="717" y="191"/>
                    <a:pt x="689" y="158"/>
                    <a:pt x="670" y="102"/>
                  </a:cubicBezTo>
                  <a:cubicBezTo>
                    <a:pt x="659" y="72"/>
                    <a:pt x="625" y="19"/>
                    <a:pt x="578" y="6"/>
                  </a:cubicBezTo>
                  <a:cubicBezTo>
                    <a:pt x="560" y="1"/>
                    <a:pt x="532" y="0"/>
                    <a:pt x="504" y="24"/>
                  </a:cubicBezTo>
                  <a:cubicBezTo>
                    <a:pt x="461" y="60"/>
                    <a:pt x="447" y="147"/>
                    <a:pt x="431" y="248"/>
                  </a:cubicBezTo>
                  <a:cubicBezTo>
                    <a:pt x="423" y="300"/>
                    <a:pt x="414" y="353"/>
                    <a:pt x="402" y="391"/>
                  </a:cubicBezTo>
                  <a:cubicBezTo>
                    <a:pt x="390" y="425"/>
                    <a:pt x="379" y="437"/>
                    <a:pt x="373" y="437"/>
                  </a:cubicBezTo>
                  <a:cubicBezTo>
                    <a:pt x="341" y="437"/>
                    <a:pt x="310" y="408"/>
                    <a:pt x="282" y="383"/>
                  </a:cubicBezTo>
                  <a:cubicBezTo>
                    <a:pt x="258" y="360"/>
                    <a:pt x="235" y="339"/>
                    <a:pt x="208" y="334"/>
                  </a:cubicBezTo>
                  <a:cubicBezTo>
                    <a:pt x="173" y="328"/>
                    <a:pt x="139" y="336"/>
                    <a:pt x="111" y="358"/>
                  </a:cubicBezTo>
                  <a:cubicBezTo>
                    <a:pt x="72" y="387"/>
                    <a:pt x="41" y="440"/>
                    <a:pt x="20" y="516"/>
                  </a:cubicBezTo>
                  <a:cubicBezTo>
                    <a:pt x="5" y="571"/>
                    <a:pt x="0" y="617"/>
                    <a:pt x="0" y="619"/>
                  </a:cubicBezTo>
                  <a:lnTo>
                    <a:pt x="62" y="625"/>
                  </a:lnTo>
                  <a:cubicBezTo>
                    <a:pt x="67" y="579"/>
                    <a:pt x="92" y="450"/>
                    <a:pt x="148" y="408"/>
                  </a:cubicBezTo>
                  <a:cubicBezTo>
                    <a:pt x="163" y="396"/>
                    <a:pt x="179" y="393"/>
                    <a:pt x="197" y="396"/>
                  </a:cubicBezTo>
                  <a:cubicBezTo>
                    <a:pt x="206" y="397"/>
                    <a:pt x="225" y="415"/>
                    <a:pt x="239" y="429"/>
                  </a:cubicBezTo>
                  <a:cubicBezTo>
                    <a:pt x="274" y="460"/>
                    <a:pt x="316" y="500"/>
                    <a:pt x="373" y="500"/>
                  </a:cubicBezTo>
                  <a:cubicBezTo>
                    <a:pt x="432" y="500"/>
                    <a:pt x="454" y="433"/>
                    <a:pt x="461" y="411"/>
                  </a:cubicBezTo>
                  <a:cubicBezTo>
                    <a:pt x="475" y="368"/>
                    <a:pt x="484" y="312"/>
                    <a:pt x="493" y="258"/>
                  </a:cubicBezTo>
                  <a:cubicBezTo>
                    <a:pt x="504" y="184"/>
                    <a:pt x="519" y="93"/>
                    <a:pt x="544" y="72"/>
                  </a:cubicBezTo>
                  <a:cubicBezTo>
                    <a:pt x="552" y="65"/>
                    <a:pt x="557" y="66"/>
                    <a:pt x="562" y="67"/>
                  </a:cubicBezTo>
                  <a:cubicBezTo>
                    <a:pt x="581" y="72"/>
                    <a:pt x="604" y="104"/>
                    <a:pt x="611" y="123"/>
                  </a:cubicBezTo>
                  <a:cubicBezTo>
                    <a:pt x="638" y="200"/>
                    <a:pt x="681" y="247"/>
                    <a:pt x="737" y="260"/>
                  </a:cubicBezTo>
                  <a:cubicBezTo>
                    <a:pt x="748" y="262"/>
                    <a:pt x="759" y="264"/>
                    <a:pt x="770" y="264"/>
                  </a:cubicBezTo>
                  <a:cubicBezTo>
                    <a:pt x="807" y="264"/>
                    <a:pt x="842" y="250"/>
                    <a:pt x="872" y="235"/>
                  </a:cubicBezTo>
                  <a:lnTo>
                    <a:pt x="872" y="161"/>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237" name="Connecteur droit 236">
            <a:extLst>
              <a:ext uri="{FF2B5EF4-FFF2-40B4-BE49-F238E27FC236}">
                <a16:creationId xmlns:a16="http://schemas.microsoft.com/office/drawing/2014/main" id="{A2911585-F365-4841-A7F0-04DA77D41585}"/>
              </a:ext>
            </a:extLst>
          </p:cNvPr>
          <p:cNvCxnSpPr>
            <a:cxnSpLocks/>
          </p:cNvCxnSpPr>
          <p:nvPr/>
        </p:nvCxnSpPr>
        <p:spPr>
          <a:xfrm>
            <a:off x="2636628" y="4441655"/>
            <a:ext cx="648000" cy="0"/>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290" name="ZoneTexte 289">
            <a:extLst>
              <a:ext uri="{FF2B5EF4-FFF2-40B4-BE49-F238E27FC236}">
                <a16:creationId xmlns:a16="http://schemas.microsoft.com/office/drawing/2014/main" id="{81CAA6D8-60EA-469B-8432-F04BBD778263}"/>
              </a:ext>
            </a:extLst>
          </p:cNvPr>
          <p:cNvSpPr txBox="1"/>
          <p:nvPr/>
        </p:nvSpPr>
        <p:spPr>
          <a:xfrm>
            <a:off x="3259657" y="4295089"/>
            <a:ext cx="617884" cy="369332"/>
          </a:xfrm>
          <a:prstGeom prst="rect">
            <a:avLst/>
          </a:prstGeom>
          <a:noFill/>
        </p:spPr>
        <p:txBody>
          <a:bodyPr wrap="square" rtlCol="0">
            <a:spAutoFit/>
          </a:bodyPr>
          <a:lstStyle/>
          <a:p>
            <a:r>
              <a:rPr lang="fr-FR" sz="900" b="1" dirty="0">
                <a:solidFill>
                  <a:schemeClr val="accent2"/>
                </a:solidFill>
              </a:rPr>
              <a:t>Medium </a:t>
            </a:r>
            <a:r>
              <a:rPr lang="fr-FR" sz="900" b="1" dirty="0" err="1">
                <a:solidFill>
                  <a:schemeClr val="accent2"/>
                </a:solidFill>
              </a:rPr>
              <a:t>price</a:t>
            </a:r>
            <a:endParaRPr lang="fr-FR" sz="900" b="1" dirty="0">
              <a:solidFill>
                <a:schemeClr val="accent2"/>
              </a:solidFill>
            </a:endParaRPr>
          </a:p>
        </p:txBody>
      </p:sp>
      <p:pic>
        <p:nvPicPr>
          <p:cNvPr id="291" name="Image 290">
            <a:extLst>
              <a:ext uri="{FF2B5EF4-FFF2-40B4-BE49-F238E27FC236}">
                <a16:creationId xmlns:a16="http://schemas.microsoft.com/office/drawing/2014/main" id="{DA7D993B-5A22-409D-AF4F-CDEEBC6349D2}"/>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443396" y="3485408"/>
            <a:ext cx="795538" cy="321715"/>
          </a:xfrm>
          <a:prstGeom prst="rect">
            <a:avLst/>
          </a:prstGeom>
        </p:spPr>
      </p:pic>
      <p:pic>
        <p:nvPicPr>
          <p:cNvPr id="292" name="Image 291">
            <a:extLst>
              <a:ext uri="{FF2B5EF4-FFF2-40B4-BE49-F238E27FC236}">
                <a16:creationId xmlns:a16="http://schemas.microsoft.com/office/drawing/2014/main" id="{CB7627FC-F683-44CA-A722-A8B66ADE6E5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49314" y="2694819"/>
            <a:ext cx="383703" cy="190161"/>
          </a:xfrm>
          <a:prstGeom prst="rect">
            <a:avLst/>
          </a:prstGeom>
        </p:spPr>
      </p:pic>
      <p:grpSp>
        <p:nvGrpSpPr>
          <p:cNvPr id="297" name="Global_finance2" descr="{&quot;Key&quot;:&quot;POWER_USER_SHAPE_ICON&quot;,&quot;Value&quot;:&quot;POWER_USER_SHAPE_ICON_STYLE_1&quot;}">
            <a:extLst>
              <a:ext uri="{FF2B5EF4-FFF2-40B4-BE49-F238E27FC236}">
                <a16:creationId xmlns:a16="http://schemas.microsoft.com/office/drawing/2014/main" id="{1ECF0F3A-34DC-4FF5-AF99-A189E2D5620B}"/>
              </a:ext>
            </a:extLst>
          </p:cNvPr>
          <p:cNvGrpSpPr>
            <a:grpSpLocks noChangeAspect="1"/>
          </p:cNvGrpSpPr>
          <p:nvPr/>
        </p:nvGrpSpPr>
        <p:grpSpPr>
          <a:xfrm>
            <a:off x="2607312" y="2611907"/>
            <a:ext cx="531267" cy="447491"/>
            <a:chOff x="4246563" y="5827713"/>
            <a:chExt cx="825500" cy="695325"/>
          </a:xfrm>
        </p:grpSpPr>
        <p:sp>
          <p:nvSpPr>
            <p:cNvPr id="299" name="Freeform 134">
              <a:extLst>
                <a:ext uri="{FF2B5EF4-FFF2-40B4-BE49-F238E27FC236}">
                  <a16:creationId xmlns:a16="http://schemas.microsoft.com/office/drawing/2014/main" id="{C481C355-085E-4344-9607-6E7A6843FEBC}"/>
                </a:ext>
              </a:extLst>
            </p:cNvPr>
            <p:cNvSpPr>
              <a:spLocks/>
            </p:cNvSpPr>
            <p:nvPr/>
          </p:nvSpPr>
          <p:spPr bwMode="auto">
            <a:xfrm>
              <a:off x="4622800" y="6002338"/>
              <a:ext cx="449263" cy="520700"/>
            </a:xfrm>
            <a:custGeom>
              <a:avLst/>
              <a:gdLst>
                <a:gd name="T0" fmla="*/ 291 w 597"/>
                <a:gd name="T1" fmla="*/ 534 h 692"/>
                <a:gd name="T2" fmla="*/ 215 w 597"/>
                <a:gd name="T3" fmla="*/ 492 h 692"/>
                <a:gd name="T4" fmla="*/ 82 w 597"/>
                <a:gd name="T5" fmla="*/ 492 h 692"/>
                <a:gd name="T6" fmla="*/ 228 w 597"/>
                <a:gd name="T7" fmla="*/ 635 h 692"/>
                <a:gd name="T8" fmla="*/ 229 w 597"/>
                <a:gd name="T9" fmla="*/ 692 h 692"/>
                <a:gd name="T10" fmla="*/ 352 w 597"/>
                <a:gd name="T11" fmla="*/ 692 h 692"/>
                <a:gd name="T12" fmla="*/ 352 w 597"/>
                <a:gd name="T13" fmla="*/ 635 h 692"/>
                <a:gd name="T14" fmla="*/ 309 w 597"/>
                <a:gd name="T15" fmla="*/ 296 h 692"/>
                <a:gd name="T16" fmla="*/ 219 w 597"/>
                <a:gd name="T17" fmla="*/ 263 h 692"/>
                <a:gd name="T18" fmla="*/ 291 w 597"/>
                <a:gd name="T19" fmla="*/ 164 h 692"/>
                <a:gd name="T20" fmla="*/ 373 w 597"/>
                <a:gd name="T21" fmla="*/ 234 h 692"/>
                <a:gd name="T22" fmla="*/ 502 w 597"/>
                <a:gd name="T23" fmla="*/ 234 h 692"/>
                <a:gd name="T24" fmla="*/ 352 w 597"/>
                <a:gd name="T25" fmla="*/ 64 h 692"/>
                <a:gd name="T26" fmla="*/ 352 w 597"/>
                <a:gd name="T27" fmla="*/ 0 h 692"/>
                <a:gd name="T28" fmla="*/ 229 w 597"/>
                <a:gd name="T29" fmla="*/ 0 h 692"/>
                <a:gd name="T30" fmla="*/ 228 w 597"/>
                <a:gd name="T31" fmla="*/ 64 h 692"/>
                <a:gd name="T32" fmla="*/ 288 w 597"/>
                <a:gd name="T33" fmla="*/ 411 h 692"/>
                <a:gd name="T34" fmla="*/ 361 w 597"/>
                <a:gd name="T35" fmla="*/ 437 h 692"/>
                <a:gd name="T36" fmla="*/ 291 w 597"/>
                <a:gd name="T37" fmla="*/ 534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7" h="692">
                  <a:moveTo>
                    <a:pt x="291" y="534"/>
                  </a:moveTo>
                  <a:cubicBezTo>
                    <a:pt x="257" y="534"/>
                    <a:pt x="227" y="517"/>
                    <a:pt x="215" y="492"/>
                  </a:cubicBezTo>
                  <a:lnTo>
                    <a:pt x="82" y="492"/>
                  </a:lnTo>
                  <a:cubicBezTo>
                    <a:pt x="94" y="560"/>
                    <a:pt x="152" y="615"/>
                    <a:pt x="228" y="635"/>
                  </a:cubicBezTo>
                  <a:lnTo>
                    <a:pt x="229" y="692"/>
                  </a:lnTo>
                  <a:lnTo>
                    <a:pt x="352" y="692"/>
                  </a:lnTo>
                  <a:lnTo>
                    <a:pt x="352" y="635"/>
                  </a:lnTo>
                  <a:cubicBezTo>
                    <a:pt x="525" y="601"/>
                    <a:pt x="597" y="333"/>
                    <a:pt x="309" y="296"/>
                  </a:cubicBezTo>
                  <a:cubicBezTo>
                    <a:pt x="251" y="288"/>
                    <a:pt x="230" y="272"/>
                    <a:pt x="219" y="263"/>
                  </a:cubicBezTo>
                  <a:cubicBezTo>
                    <a:pt x="196" y="242"/>
                    <a:pt x="208" y="164"/>
                    <a:pt x="291" y="164"/>
                  </a:cubicBezTo>
                  <a:cubicBezTo>
                    <a:pt x="336" y="164"/>
                    <a:pt x="373" y="196"/>
                    <a:pt x="373" y="234"/>
                  </a:cubicBezTo>
                  <a:lnTo>
                    <a:pt x="502" y="234"/>
                  </a:lnTo>
                  <a:cubicBezTo>
                    <a:pt x="502" y="154"/>
                    <a:pt x="439" y="86"/>
                    <a:pt x="352" y="64"/>
                  </a:cubicBezTo>
                  <a:lnTo>
                    <a:pt x="352" y="0"/>
                  </a:lnTo>
                  <a:lnTo>
                    <a:pt x="229" y="0"/>
                  </a:lnTo>
                  <a:lnTo>
                    <a:pt x="228" y="64"/>
                  </a:lnTo>
                  <a:cubicBezTo>
                    <a:pt x="37" y="112"/>
                    <a:pt x="0" y="378"/>
                    <a:pt x="288" y="411"/>
                  </a:cubicBezTo>
                  <a:cubicBezTo>
                    <a:pt x="329" y="416"/>
                    <a:pt x="352" y="429"/>
                    <a:pt x="361" y="437"/>
                  </a:cubicBezTo>
                  <a:cubicBezTo>
                    <a:pt x="388" y="462"/>
                    <a:pt x="373" y="534"/>
                    <a:pt x="291" y="534"/>
                  </a:cubicBezTo>
                  <a:close/>
                </a:path>
              </a:pathLst>
            </a:custGeom>
            <a:noFill/>
            <a:ln w="19050" cap="flat">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 name="Freeform 135">
              <a:extLst>
                <a:ext uri="{FF2B5EF4-FFF2-40B4-BE49-F238E27FC236}">
                  <a16:creationId xmlns:a16="http://schemas.microsoft.com/office/drawing/2014/main" id="{0B11FD2C-5C1E-4848-8685-F63A1627A714}"/>
                </a:ext>
              </a:extLst>
            </p:cNvPr>
            <p:cNvSpPr>
              <a:spLocks/>
            </p:cNvSpPr>
            <p:nvPr/>
          </p:nvSpPr>
          <p:spPr bwMode="auto">
            <a:xfrm>
              <a:off x="4246563" y="5827713"/>
              <a:ext cx="604838" cy="639763"/>
            </a:xfrm>
            <a:custGeom>
              <a:avLst/>
              <a:gdLst>
                <a:gd name="T0" fmla="*/ 805 w 805"/>
                <a:gd name="T1" fmla="*/ 233 h 852"/>
                <a:gd name="T2" fmla="*/ 425 w 805"/>
                <a:gd name="T3" fmla="*/ 0 h 852"/>
                <a:gd name="T4" fmla="*/ 0 w 805"/>
                <a:gd name="T5" fmla="*/ 426 h 852"/>
                <a:gd name="T6" fmla="*/ 425 w 805"/>
                <a:gd name="T7" fmla="*/ 852 h 852"/>
                <a:gd name="T8" fmla="*/ 622 w 805"/>
                <a:gd name="T9" fmla="*/ 804 h 852"/>
              </a:gdLst>
              <a:ahLst/>
              <a:cxnLst>
                <a:cxn ang="0">
                  <a:pos x="T0" y="T1"/>
                </a:cxn>
                <a:cxn ang="0">
                  <a:pos x="T2" y="T3"/>
                </a:cxn>
                <a:cxn ang="0">
                  <a:pos x="T4" y="T5"/>
                </a:cxn>
                <a:cxn ang="0">
                  <a:pos x="T6" y="T7"/>
                </a:cxn>
                <a:cxn ang="0">
                  <a:pos x="T8" y="T9"/>
                </a:cxn>
              </a:cxnLst>
              <a:rect l="0" t="0" r="r" b="b"/>
              <a:pathLst>
                <a:path w="805" h="852">
                  <a:moveTo>
                    <a:pt x="805" y="233"/>
                  </a:moveTo>
                  <a:cubicBezTo>
                    <a:pt x="734" y="95"/>
                    <a:pt x="591" y="0"/>
                    <a:pt x="425" y="0"/>
                  </a:cubicBezTo>
                  <a:cubicBezTo>
                    <a:pt x="190" y="0"/>
                    <a:pt x="0" y="191"/>
                    <a:pt x="0" y="426"/>
                  </a:cubicBezTo>
                  <a:cubicBezTo>
                    <a:pt x="0" y="661"/>
                    <a:pt x="190" y="852"/>
                    <a:pt x="425" y="852"/>
                  </a:cubicBezTo>
                  <a:cubicBezTo>
                    <a:pt x="496" y="852"/>
                    <a:pt x="563" y="835"/>
                    <a:pt x="622" y="804"/>
                  </a:cubicBez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 name="Freeform 136">
              <a:extLst>
                <a:ext uri="{FF2B5EF4-FFF2-40B4-BE49-F238E27FC236}">
                  <a16:creationId xmlns:a16="http://schemas.microsoft.com/office/drawing/2014/main" id="{4E082262-E226-4AFD-A3C6-8F6191327760}"/>
                </a:ext>
              </a:extLst>
            </p:cNvPr>
            <p:cNvSpPr>
              <a:spLocks/>
            </p:cNvSpPr>
            <p:nvPr/>
          </p:nvSpPr>
          <p:spPr bwMode="auto">
            <a:xfrm>
              <a:off x="4305300" y="5888038"/>
              <a:ext cx="447675" cy="482600"/>
            </a:xfrm>
            <a:custGeom>
              <a:avLst/>
              <a:gdLst>
                <a:gd name="T0" fmla="*/ 0 w 598"/>
                <a:gd name="T1" fmla="*/ 100 h 641"/>
                <a:gd name="T2" fmla="*/ 29 w 598"/>
                <a:gd name="T3" fmla="*/ 159 h 641"/>
                <a:gd name="T4" fmla="*/ 50 w 598"/>
                <a:gd name="T5" fmla="*/ 246 h 641"/>
                <a:gd name="T6" fmla="*/ 98 w 598"/>
                <a:gd name="T7" fmla="*/ 315 h 641"/>
                <a:gd name="T8" fmla="*/ 168 w 598"/>
                <a:gd name="T9" fmla="*/ 365 h 641"/>
                <a:gd name="T10" fmla="*/ 208 w 598"/>
                <a:gd name="T11" fmla="*/ 482 h 641"/>
                <a:gd name="T12" fmla="*/ 321 w 598"/>
                <a:gd name="T13" fmla="*/ 641 h 641"/>
                <a:gd name="T14" fmla="*/ 359 w 598"/>
                <a:gd name="T15" fmla="*/ 641 h 641"/>
                <a:gd name="T16" fmla="*/ 422 w 598"/>
                <a:gd name="T17" fmla="*/ 440 h 641"/>
                <a:gd name="T18" fmla="*/ 401 w 598"/>
                <a:gd name="T19" fmla="*/ 384 h 641"/>
                <a:gd name="T20" fmla="*/ 207 w 598"/>
                <a:gd name="T21" fmla="*/ 329 h 641"/>
                <a:gd name="T22" fmla="*/ 165 w 598"/>
                <a:gd name="T23" fmla="*/ 274 h 641"/>
                <a:gd name="T24" fmla="*/ 291 w 598"/>
                <a:gd name="T25" fmla="*/ 255 h 641"/>
                <a:gd name="T26" fmla="*/ 316 w 598"/>
                <a:gd name="T27" fmla="*/ 198 h 641"/>
                <a:gd name="T28" fmla="*/ 392 w 598"/>
                <a:gd name="T29" fmla="*/ 144 h 641"/>
                <a:gd name="T30" fmla="*/ 374 w 598"/>
                <a:gd name="T31" fmla="*/ 72 h 641"/>
                <a:gd name="T32" fmla="*/ 350 w 598"/>
                <a:gd name="T33" fmla="*/ 48 h 641"/>
                <a:gd name="T34" fmla="*/ 420 w 598"/>
                <a:gd name="T35" fmla="*/ 23 h 641"/>
                <a:gd name="T36" fmla="*/ 433 w 598"/>
                <a:gd name="T37" fmla="*/ 88 h 641"/>
                <a:gd name="T38" fmla="*/ 465 w 598"/>
                <a:gd name="T39" fmla="*/ 88 h 641"/>
                <a:gd name="T40" fmla="*/ 598 w 598"/>
                <a:gd name="T41" fmla="*/ 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8" h="641">
                  <a:moveTo>
                    <a:pt x="0" y="100"/>
                  </a:moveTo>
                  <a:lnTo>
                    <a:pt x="29" y="159"/>
                  </a:lnTo>
                  <a:lnTo>
                    <a:pt x="50" y="246"/>
                  </a:lnTo>
                  <a:lnTo>
                    <a:pt x="98" y="315"/>
                  </a:lnTo>
                  <a:lnTo>
                    <a:pt x="168" y="365"/>
                  </a:lnTo>
                  <a:lnTo>
                    <a:pt x="208" y="482"/>
                  </a:lnTo>
                  <a:lnTo>
                    <a:pt x="321" y="641"/>
                  </a:lnTo>
                  <a:lnTo>
                    <a:pt x="359" y="641"/>
                  </a:lnTo>
                  <a:lnTo>
                    <a:pt x="422" y="440"/>
                  </a:lnTo>
                  <a:lnTo>
                    <a:pt x="401" y="384"/>
                  </a:lnTo>
                  <a:lnTo>
                    <a:pt x="207" y="329"/>
                  </a:lnTo>
                  <a:lnTo>
                    <a:pt x="165" y="274"/>
                  </a:lnTo>
                  <a:lnTo>
                    <a:pt x="291" y="255"/>
                  </a:lnTo>
                  <a:lnTo>
                    <a:pt x="316" y="198"/>
                  </a:lnTo>
                  <a:lnTo>
                    <a:pt x="392" y="144"/>
                  </a:lnTo>
                  <a:lnTo>
                    <a:pt x="374" y="72"/>
                  </a:lnTo>
                  <a:lnTo>
                    <a:pt x="350" y="48"/>
                  </a:lnTo>
                  <a:lnTo>
                    <a:pt x="420" y="23"/>
                  </a:lnTo>
                  <a:lnTo>
                    <a:pt x="433" y="88"/>
                  </a:lnTo>
                  <a:lnTo>
                    <a:pt x="465" y="88"/>
                  </a:lnTo>
                  <a:lnTo>
                    <a:pt x="598" y="0"/>
                  </a:ln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03" name="ZoneTexte 302">
            <a:extLst>
              <a:ext uri="{FF2B5EF4-FFF2-40B4-BE49-F238E27FC236}">
                <a16:creationId xmlns:a16="http://schemas.microsoft.com/office/drawing/2014/main" id="{72DB8D78-D8C5-41CB-80BF-329C3E3473E6}"/>
              </a:ext>
            </a:extLst>
          </p:cNvPr>
          <p:cNvSpPr txBox="1"/>
          <p:nvPr/>
        </p:nvSpPr>
        <p:spPr>
          <a:xfrm>
            <a:off x="3373599" y="3497326"/>
            <a:ext cx="1051937" cy="276999"/>
          </a:xfrm>
          <a:prstGeom prst="rect">
            <a:avLst/>
          </a:prstGeom>
          <a:noFill/>
        </p:spPr>
        <p:txBody>
          <a:bodyPr wrap="square" rtlCol="0">
            <a:spAutoFit/>
          </a:bodyPr>
          <a:lstStyle/>
          <a:p>
            <a:pPr algn="ctr"/>
            <a:r>
              <a:rPr lang="fr-FR" sz="1200" b="1" dirty="0">
                <a:solidFill>
                  <a:srgbClr val="C2D8D0"/>
                </a:solidFill>
              </a:rPr>
              <a:t>Clients</a:t>
            </a:r>
          </a:p>
        </p:txBody>
      </p:sp>
      <p:cxnSp>
        <p:nvCxnSpPr>
          <p:cNvPr id="354" name="Connecteur droit 353">
            <a:extLst>
              <a:ext uri="{FF2B5EF4-FFF2-40B4-BE49-F238E27FC236}">
                <a16:creationId xmlns:a16="http://schemas.microsoft.com/office/drawing/2014/main" id="{7CDA79DD-B30C-4787-B808-9708483B73E6}"/>
              </a:ext>
            </a:extLst>
          </p:cNvPr>
          <p:cNvCxnSpPr/>
          <p:nvPr/>
        </p:nvCxnSpPr>
        <p:spPr>
          <a:xfrm>
            <a:off x="4572000" y="2168525"/>
            <a:ext cx="0" cy="2994025"/>
          </a:xfrm>
          <a:prstGeom prst="line">
            <a:avLst/>
          </a:prstGeom>
          <a:ln>
            <a:solidFill>
              <a:srgbClr val="1B9D91"/>
            </a:solidFill>
          </a:ln>
        </p:spPr>
        <p:style>
          <a:lnRef idx="1">
            <a:schemeClr val="accent1"/>
          </a:lnRef>
          <a:fillRef idx="0">
            <a:schemeClr val="accent1"/>
          </a:fillRef>
          <a:effectRef idx="0">
            <a:schemeClr val="accent1"/>
          </a:effectRef>
          <a:fontRef idx="minor">
            <a:schemeClr val="tx1"/>
          </a:fontRef>
        </p:style>
      </p:cxnSp>
      <p:sp>
        <p:nvSpPr>
          <p:cNvPr id="355" name="ZoneTexte 354">
            <a:extLst>
              <a:ext uri="{FF2B5EF4-FFF2-40B4-BE49-F238E27FC236}">
                <a16:creationId xmlns:a16="http://schemas.microsoft.com/office/drawing/2014/main" id="{93CB2AD4-8B47-4E34-AE2A-CE00BDDAF547}"/>
              </a:ext>
            </a:extLst>
          </p:cNvPr>
          <p:cNvSpPr txBox="1"/>
          <p:nvPr/>
        </p:nvSpPr>
        <p:spPr>
          <a:xfrm>
            <a:off x="1471347" y="2091143"/>
            <a:ext cx="1944038" cy="246221"/>
          </a:xfrm>
          <a:prstGeom prst="rect">
            <a:avLst/>
          </a:prstGeom>
          <a:solidFill>
            <a:srgbClr val="1BAE8F"/>
          </a:solidFill>
        </p:spPr>
        <p:txBody>
          <a:bodyPr wrap="square" lIns="88900" tIns="38100" rIns="88900" bIns="38100" rtlCol="0">
            <a:spAutoFit/>
          </a:bodyPr>
          <a:lstStyle/>
          <a:p>
            <a:pPr algn="ctr"/>
            <a:r>
              <a:rPr lang="fr-FR" sz="1100" b="1" dirty="0">
                <a:solidFill>
                  <a:schemeClr val="bg1"/>
                </a:solidFill>
              </a:rPr>
              <a:t>Ventes de demi-produits</a:t>
            </a:r>
          </a:p>
        </p:txBody>
      </p:sp>
      <p:sp>
        <p:nvSpPr>
          <p:cNvPr id="356" name="ZoneTexte 355">
            <a:extLst>
              <a:ext uri="{FF2B5EF4-FFF2-40B4-BE49-F238E27FC236}">
                <a16:creationId xmlns:a16="http://schemas.microsoft.com/office/drawing/2014/main" id="{8336AAE3-F4CB-420F-BE55-BEEA98354F84}"/>
              </a:ext>
            </a:extLst>
          </p:cNvPr>
          <p:cNvSpPr txBox="1"/>
          <p:nvPr/>
        </p:nvSpPr>
        <p:spPr>
          <a:xfrm>
            <a:off x="1689831" y="4901661"/>
            <a:ext cx="1507071" cy="261610"/>
          </a:xfrm>
          <a:prstGeom prst="rect">
            <a:avLst/>
          </a:prstGeom>
          <a:solidFill>
            <a:srgbClr val="92D050"/>
          </a:solidFill>
        </p:spPr>
        <p:txBody>
          <a:bodyPr wrap="square" rtlCol="0">
            <a:spAutoFit/>
          </a:bodyPr>
          <a:lstStyle/>
          <a:p>
            <a:pPr algn="ctr"/>
            <a:r>
              <a:rPr lang="fr-FR" sz="1100" b="1" dirty="0">
                <a:solidFill>
                  <a:schemeClr val="bg1"/>
                </a:solidFill>
              </a:rPr>
              <a:t>Achats des chutes</a:t>
            </a:r>
          </a:p>
        </p:txBody>
      </p:sp>
      <p:pic>
        <p:nvPicPr>
          <p:cNvPr id="357" name="Espace réservé du contenu 190" descr="Une image contenant texte, pièce&#10;&#10;Description générée automatiquement">
            <a:extLst>
              <a:ext uri="{FF2B5EF4-FFF2-40B4-BE49-F238E27FC236}">
                <a16:creationId xmlns:a16="http://schemas.microsoft.com/office/drawing/2014/main" id="{70C935A6-A14E-4190-9844-6EA050A5C695}"/>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bwMode="gray">
          <a:xfrm>
            <a:off x="5917438" y="4227028"/>
            <a:ext cx="642939" cy="542170"/>
          </a:xfrm>
          <a:prstGeom prst="rect">
            <a:avLst/>
          </a:prstGeom>
        </p:spPr>
      </p:pic>
      <p:grpSp>
        <p:nvGrpSpPr>
          <p:cNvPr id="358" name="Smart_manufacturing3" descr="{&quot;Key&quot;:&quot;POWER_USER_SHAPE_ICON&quot;,&quot;Value&quot;:&quot;POWER_USER_SHAPE_ICON_STYLE_1&quot;}">
            <a:extLst>
              <a:ext uri="{FF2B5EF4-FFF2-40B4-BE49-F238E27FC236}">
                <a16:creationId xmlns:a16="http://schemas.microsoft.com/office/drawing/2014/main" id="{3297697D-8A47-4C0A-85B1-8BC2EB86B05F}"/>
              </a:ext>
            </a:extLst>
          </p:cNvPr>
          <p:cNvGrpSpPr>
            <a:grpSpLocks noChangeAspect="1"/>
          </p:cNvGrpSpPr>
          <p:nvPr>
            <p:custDataLst>
              <p:tags r:id="rId4"/>
            </p:custDataLst>
          </p:nvPr>
        </p:nvGrpSpPr>
        <p:grpSpPr>
          <a:xfrm>
            <a:off x="4926140" y="2942483"/>
            <a:ext cx="563798" cy="512290"/>
            <a:chOff x="8048626" y="923925"/>
            <a:chExt cx="642938" cy="584200"/>
          </a:xfrm>
          <a:solidFill>
            <a:srgbClr val="C2D8D0"/>
          </a:solidFill>
        </p:grpSpPr>
        <p:sp>
          <p:nvSpPr>
            <p:cNvPr id="359" name="Freeform 471">
              <a:extLst>
                <a:ext uri="{FF2B5EF4-FFF2-40B4-BE49-F238E27FC236}">
                  <a16:creationId xmlns:a16="http://schemas.microsoft.com/office/drawing/2014/main" id="{D6DAFC8C-119C-4D1E-BCE2-5A912721E965}"/>
                </a:ext>
              </a:extLst>
            </p:cNvPr>
            <p:cNvSpPr>
              <a:spLocks noEditPoints="1"/>
            </p:cNvSpPr>
            <p:nvPr/>
          </p:nvSpPr>
          <p:spPr bwMode="auto">
            <a:xfrm>
              <a:off x="8048626" y="923925"/>
              <a:ext cx="642938" cy="584200"/>
            </a:xfrm>
            <a:custGeom>
              <a:avLst/>
              <a:gdLst>
                <a:gd name="T0" fmla="*/ 16 w 470"/>
                <a:gd name="T1" fmla="*/ 410 h 426"/>
                <a:gd name="T2" fmla="*/ 453 w 470"/>
                <a:gd name="T3" fmla="*/ 410 h 426"/>
                <a:gd name="T4" fmla="*/ 453 w 470"/>
                <a:gd name="T5" fmla="*/ 225 h 426"/>
                <a:gd name="T6" fmla="*/ 370 w 470"/>
                <a:gd name="T7" fmla="*/ 189 h 426"/>
                <a:gd name="T8" fmla="*/ 370 w 470"/>
                <a:gd name="T9" fmla="*/ 232 h 426"/>
                <a:gd name="T10" fmla="*/ 270 w 470"/>
                <a:gd name="T11" fmla="*/ 189 h 426"/>
                <a:gd name="T12" fmla="*/ 270 w 470"/>
                <a:gd name="T13" fmla="*/ 232 h 426"/>
                <a:gd name="T14" fmla="*/ 171 w 470"/>
                <a:gd name="T15" fmla="*/ 189 h 426"/>
                <a:gd name="T16" fmla="*/ 171 w 470"/>
                <a:gd name="T17" fmla="*/ 233 h 426"/>
                <a:gd name="T18" fmla="*/ 96 w 470"/>
                <a:gd name="T19" fmla="*/ 233 h 426"/>
                <a:gd name="T20" fmla="*/ 88 w 470"/>
                <a:gd name="T21" fmla="*/ 17 h 426"/>
                <a:gd name="T22" fmla="*/ 56 w 470"/>
                <a:gd name="T23" fmla="*/ 17 h 426"/>
                <a:gd name="T24" fmla="*/ 49 w 470"/>
                <a:gd name="T25" fmla="*/ 233 h 426"/>
                <a:gd name="T26" fmla="*/ 16 w 470"/>
                <a:gd name="T27" fmla="*/ 233 h 426"/>
                <a:gd name="T28" fmla="*/ 16 w 470"/>
                <a:gd name="T29" fmla="*/ 410 h 426"/>
                <a:gd name="T30" fmla="*/ 470 w 470"/>
                <a:gd name="T31" fmla="*/ 426 h 426"/>
                <a:gd name="T32" fmla="*/ 0 w 470"/>
                <a:gd name="T33" fmla="*/ 426 h 426"/>
                <a:gd name="T34" fmla="*/ 0 w 470"/>
                <a:gd name="T35" fmla="*/ 217 h 426"/>
                <a:gd name="T36" fmla="*/ 32 w 470"/>
                <a:gd name="T37" fmla="*/ 217 h 426"/>
                <a:gd name="T38" fmla="*/ 40 w 470"/>
                <a:gd name="T39" fmla="*/ 0 h 426"/>
                <a:gd name="T40" fmla="*/ 104 w 470"/>
                <a:gd name="T41" fmla="*/ 0 h 426"/>
                <a:gd name="T42" fmla="*/ 112 w 470"/>
                <a:gd name="T43" fmla="*/ 217 h 426"/>
                <a:gd name="T44" fmla="*/ 154 w 470"/>
                <a:gd name="T45" fmla="*/ 217 h 426"/>
                <a:gd name="T46" fmla="*/ 154 w 470"/>
                <a:gd name="T47" fmla="*/ 164 h 426"/>
                <a:gd name="T48" fmla="*/ 254 w 470"/>
                <a:gd name="T49" fmla="*/ 206 h 426"/>
                <a:gd name="T50" fmla="*/ 254 w 470"/>
                <a:gd name="T51" fmla="*/ 164 h 426"/>
                <a:gd name="T52" fmla="*/ 353 w 470"/>
                <a:gd name="T53" fmla="*/ 206 h 426"/>
                <a:gd name="T54" fmla="*/ 353 w 470"/>
                <a:gd name="T55" fmla="*/ 164 h 426"/>
                <a:gd name="T56" fmla="*/ 470 w 470"/>
                <a:gd name="T57" fmla="*/ 214 h 426"/>
                <a:gd name="T58" fmla="*/ 470 w 470"/>
                <a:gd name="T59"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0" h="426">
                  <a:moveTo>
                    <a:pt x="16" y="410"/>
                  </a:moveTo>
                  <a:lnTo>
                    <a:pt x="453" y="410"/>
                  </a:lnTo>
                  <a:lnTo>
                    <a:pt x="453" y="225"/>
                  </a:lnTo>
                  <a:lnTo>
                    <a:pt x="370" y="189"/>
                  </a:lnTo>
                  <a:lnTo>
                    <a:pt x="370" y="232"/>
                  </a:lnTo>
                  <a:lnTo>
                    <a:pt x="270" y="189"/>
                  </a:lnTo>
                  <a:lnTo>
                    <a:pt x="270" y="232"/>
                  </a:lnTo>
                  <a:lnTo>
                    <a:pt x="171" y="189"/>
                  </a:lnTo>
                  <a:lnTo>
                    <a:pt x="171" y="233"/>
                  </a:lnTo>
                  <a:lnTo>
                    <a:pt x="96" y="233"/>
                  </a:lnTo>
                  <a:lnTo>
                    <a:pt x="88" y="17"/>
                  </a:lnTo>
                  <a:lnTo>
                    <a:pt x="56" y="17"/>
                  </a:lnTo>
                  <a:lnTo>
                    <a:pt x="49" y="233"/>
                  </a:lnTo>
                  <a:lnTo>
                    <a:pt x="16" y="233"/>
                  </a:lnTo>
                  <a:lnTo>
                    <a:pt x="16" y="410"/>
                  </a:lnTo>
                  <a:close/>
                  <a:moveTo>
                    <a:pt x="470" y="426"/>
                  </a:moveTo>
                  <a:lnTo>
                    <a:pt x="0" y="426"/>
                  </a:lnTo>
                  <a:lnTo>
                    <a:pt x="0" y="217"/>
                  </a:lnTo>
                  <a:lnTo>
                    <a:pt x="32" y="217"/>
                  </a:lnTo>
                  <a:lnTo>
                    <a:pt x="40" y="0"/>
                  </a:lnTo>
                  <a:lnTo>
                    <a:pt x="104" y="0"/>
                  </a:lnTo>
                  <a:lnTo>
                    <a:pt x="112" y="217"/>
                  </a:lnTo>
                  <a:lnTo>
                    <a:pt x="154" y="217"/>
                  </a:lnTo>
                  <a:lnTo>
                    <a:pt x="154" y="164"/>
                  </a:lnTo>
                  <a:lnTo>
                    <a:pt x="254" y="206"/>
                  </a:lnTo>
                  <a:lnTo>
                    <a:pt x="254" y="164"/>
                  </a:lnTo>
                  <a:lnTo>
                    <a:pt x="353" y="206"/>
                  </a:lnTo>
                  <a:lnTo>
                    <a:pt x="353" y="164"/>
                  </a:lnTo>
                  <a:lnTo>
                    <a:pt x="470" y="214"/>
                  </a:lnTo>
                  <a:lnTo>
                    <a:pt x="470" y="42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 name="Freeform 472">
              <a:extLst>
                <a:ext uri="{FF2B5EF4-FFF2-40B4-BE49-F238E27FC236}">
                  <a16:creationId xmlns:a16="http://schemas.microsoft.com/office/drawing/2014/main" id="{EE5BE1AF-22CB-4AE7-A15B-F737F330759E}"/>
                </a:ext>
              </a:extLst>
            </p:cNvPr>
            <p:cNvSpPr>
              <a:spLocks noEditPoints="1"/>
            </p:cNvSpPr>
            <p:nvPr/>
          </p:nvSpPr>
          <p:spPr bwMode="auto">
            <a:xfrm>
              <a:off x="8524876" y="1300163"/>
              <a:ext cx="106363" cy="103188"/>
            </a:xfrm>
            <a:custGeom>
              <a:avLst/>
              <a:gdLst>
                <a:gd name="T0" fmla="*/ 17 w 77"/>
                <a:gd name="T1" fmla="*/ 59 h 76"/>
                <a:gd name="T2" fmla="*/ 60 w 77"/>
                <a:gd name="T3" fmla="*/ 59 h 76"/>
                <a:gd name="T4" fmla="*/ 60 w 77"/>
                <a:gd name="T5" fmla="*/ 16 h 76"/>
                <a:gd name="T6" fmla="*/ 17 w 77"/>
                <a:gd name="T7" fmla="*/ 16 h 76"/>
                <a:gd name="T8" fmla="*/ 17 w 77"/>
                <a:gd name="T9" fmla="*/ 59 h 76"/>
                <a:gd name="T10" fmla="*/ 77 w 77"/>
                <a:gd name="T11" fmla="*/ 76 h 76"/>
                <a:gd name="T12" fmla="*/ 0 w 77"/>
                <a:gd name="T13" fmla="*/ 76 h 76"/>
                <a:gd name="T14" fmla="*/ 0 w 77"/>
                <a:gd name="T15" fmla="*/ 0 h 76"/>
                <a:gd name="T16" fmla="*/ 77 w 77"/>
                <a:gd name="T17" fmla="*/ 0 h 76"/>
                <a:gd name="T18" fmla="*/ 77 w 7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6">
                  <a:moveTo>
                    <a:pt x="17" y="59"/>
                  </a:moveTo>
                  <a:lnTo>
                    <a:pt x="60" y="59"/>
                  </a:lnTo>
                  <a:lnTo>
                    <a:pt x="60" y="16"/>
                  </a:lnTo>
                  <a:lnTo>
                    <a:pt x="17" y="16"/>
                  </a:lnTo>
                  <a:lnTo>
                    <a:pt x="17" y="59"/>
                  </a:lnTo>
                  <a:close/>
                  <a:moveTo>
                    <a:pt x="77" y="76"/>
                  </a:moveTo>
                  <a:lnTo>
                    <a:pt x="0" y="76"/>
                  </a:lnTo>
                  <a:lnTo>
                    <a:pt x="0" y="0"/>
                  </a:lnTo>
                  <a:lnTo>
                    <a:pt x="77" y="0"/>
                  </a:lnTo>
                  <a:lnTo>
                    <a:pt x="77"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 name="Freeform 473">
              <a:extLst>
                <a:ext uri="{FF2B5EF4-FFF2-40B4-BE49-F238E27FC236}">
                  <a16:creationId xmlns:a16="http://schemas.microsoft.com/office/drawing/2014/main" id="{9E9CCE9E-F594-4B5A-A234-A0EE9764C899}"/>
                </a:ext>
              </a:extLst>
            </p:cNvPr>
            <p:cNvSpPr>
              <a:spLocks noEditPoints="1"/>
            </p:cNvSpPr>
            <p:nvPr/>
          </p:nvSpPr>
          <p:spPr bwMode="auto">
            <a:xfrm>
              <a:off x="8393113" y="1300163"/>
              <a:ext cx="103188"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 name="Freeform 474">
              <a:extLst>
                <a:ext uri="{FF2B5EF4-FFF2-40B4-BE49-F238E27FC236}">
                  <a16:creationId xmlns:a16="http://schemas.microsoft.com/office/drawing/2014/main" id="{EBEF2398-FDFE-473C-A79D-6E39C76EBDE6}"/>
                </a:ext>
              </a:extLst>
            </p:cNvPr>
            <p:cNvSpPr>
              <a:spLocks noEditPoints="1"/>
            </p:cNvSpPr>
            <p:nvPr/>
          </p:nvSpPr>
          <p:spPr bwMode="auto">
            <a:xfrm>
              <a:off x="8259763" y="1300163"/>
              <a:ext cx="104775" cy="103188"/>
            </a:xfrm>
            <a:custGeom>
              <a:avLst/>
              <a:gdLst>
                <a:gd name="T0" fmla="*/ 17 w 76"/>
                <a:gd name="T1" fmla="*/ 59 h 76"/>
                <a:gd name="T2" fmla="*/ 60 w 76"/>
                <a:gd name="T3" fmla="*/ 59 h 76"/>
                <a:gd name="T4" fmla="*/ 60 w 76"/>
                <a:gd name="T5" fmla="*/ 16 h 76"/>
                <a:gd name="T6" fmla="*/ 17 w 76"/>
                <a:gd name="T7" fmla="*/ 16 h 76"/>
                <a:gd name="T8" fmla="*/ 17 w 76"/>
                <a:gd name="T9" fmla="*/ 59 h 76"/>
                <a:gd name="T10" fmla="*/ 76 w 76"/>
                <a:gd name="T11" fmla="*/ 76 h 76"/>
                <a:gd name="T12" fmla="*/ 0 w 76"/>
                <a:gd name="T13" fmla="*/ 76 h 76"/>
                <a:gd name="T14" fmla="*/ 0 w 76"/>
                <a:gd name="T15" fmla="*/ 0 h 76"/>
                <a:gd name="T16" fmla="*/ 76 w 76"/>
                <a:gd name="T17" fmla="*/ 0 h 76"/>
                <a:gd name="T18" fmla="*/ 76 w 7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7" y="59"/>
                  </a:moveTo>
                  <a:lnTo>
                    <a:pt x="60" y="59"/>
                  </a:lnTo>
                  <a:lnTo>
                    <a:pt x="60" y="16"/>
                  </a:lnTo>
                  <a:lnTo>
                    <a:pt x="17" y="16"/>
                  </a:lnTo>
                  <a:lnTo>
                    <a:pt x="17" y="59"/>
                  </a:lnTo>
                  <a:close/>
                  <a:moveTo>
                    <a:pt x="76" y="76"/>
                  </a:moveTo>
                  <a:lnTo>
                    <a:pt x="0" y="76"/>
                  </a:lnTo>
                  <a:lnTo>
                    <a:pt x="0" y="0"/>
                  </a:lnTo>
                  <a:lnTo>
                    <a:pt x="76" y="0"/>
                  </a:lnTo>
                  <a:lnTo>
                    <a:pt x="76" y="7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3" name="Assembling2" descr="{&quot;Key&quot;:&quot;POWER_USER_SHAPE_ICON&quot;,&quot;Value&quot;:&quot;POWER_USER_SHAPE_ICON_STYLE_1&quot;}">
            <a:extLst>
              <a:ext uri="{FF2B5EF4-FFF2-40B4-BE49-F238E27FC236}">
                <a16:creationId xmlns:a16="http://schemas.microsoft.com/office/drawing/2014/main" id="{A93B0BEC-62A4-4358-9B42-AD265F491B7A}"/>
              </a:ext>
            </a:extLst>
          </p:cNvPr>
          <p:cNvGrpSpPr>
            <a:grpSpLocks noChangeAspect="1"/>
          </p:cNvGrpSpPr>
          <p:nvPr/>
        </p:nvGrpSpPr>
        <p:grpSpPr>
          <a:xfrm>
            <a:off x="8036625" y="2942483"/>
            <a:ext cx="489523" cy="542925"/>
            <a:chOff x="4249738" y="6434138"/>
            <a:chExt cx="261938" cy="290513"/>
          </a:xfrm>
          <a:solidFill>
            <a:srgbClr val="C2D8D0"/>
          </a:solidFill>
        </p:grpSpPr>
        <p:sp>
          <p:nvSpPr>
            <p:cNvPr id="364" name="Freeform 189">
              <a:extLst>
                <a:ext uri="{FF2B5EF4-FFF2-40B4-BE49-F238E27FC236}">
                  <a16:creationId xmlns:a16="http://schemas.microsoft.com/office/drawing/2014/main" id="{6F8B88E2-B057-4650-978E-BCB6D12BAF96}"/>
                </a:ext>
              </a:extLst>
            </p:cNvPr>
            <p:cNvSpPr>
              <a:spLocks/>
            </p:cNvSpPr>
            <p:nvPr/>
          </p:nvSpPr>
          <p:spPr bwMode="auto">
            <a:xfrm>
              <a:off x="4259263" y="6597650"/>
              <a:ext cx="26988"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9"/>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5" name="Freeform 190">
              <a:extLst>
                <a:ext uri="{FF2B5EF4-FFF2-40B4-BE49-F238E27FC236}">
                  <a16:creationId xmlns:a16="http://schemas.microsoft.com/office/drawing/2014/main" id="{7284F674-5DB8-4BF1-8790-C5CEB5AC06AE}"/>
                </a:ext>
              </a:extLst>
            </p:cNvPr>
            <p:cNvSpPr>
              <a:spLocks/>
            </p:cNvSpPr>
            <p:nvPr/>
          </p:nvSpPr>
          <p:spPr bwMode="auto">
            <a:xfrm>
              <a:off x="4313238" y="6597650"/>
              <a:ext cx="26988" cy="25400"/>
            </a:xfrm>
            <a:custGeom>
              <a:avLst/>
              <a:gdLst>
                <a:gd name="T0" fmla="*/ 112 w 129"/>
                <a:gd name="T1" fmla="*/ 65 h 129"/>
                <a:gd name="T2" fmla="*/ 96 w 129"/>
                <a:gd name="T3" fmla="*/ 65 h 129"/>
                <a:gd name="T4" fmla="*/ 64 w 129"/>
                <a:gd name="T5" fmla="*/ 96 h 129"/>
                <a:gd name="T6" fmla="*/ 33 w 129"/>
                <a:gd name="T7" fmla="*/ 65 h 129"/>
                <a:gd name="T8" fmla="*/ 64 w 129"/>
                <a:gd name="T9" fmla="*/ 34 h 129"/>
                <a:gd name="T10" fmla="*/ 96 w 129"/>
                <a:gd name="T11" fmla="*/ 65 h 129"/>
                <a:gd name="T12" fmla="*/ 112 w 129"/>
                <a:gd name="T13" fmla="*/ 65 h 129"/>
                <a:gd name="T14" fmla="*/ 129 w 129"/>
                <a:gd name="T15" fmla="*/ 65 h 129"/>
                <a:gd name="T16" fmla="*/ 64 w 129"/>
                <a:gd name="T17" fmla="*/ 0 h 129"/>
                <a:gd name="T18" fmla="*/ 0 w 129"/>
                <a:gd name="T19" fmla="*/ 65 h 129"/>
                <a:gd name="T20" fmla="*/ 64 w 129"/>
                <a:gd name="T21" fmla="*/ 129 h 129"/>
                <a:gd name="T22" fmla="*/ 129 w 129"/>
                <a:gd name="T23" fmla="*/ 65 h 129"/>
                <a:gd name="T24" fmla="*/ 112 w 129"/>
                <a:gd name="T2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2" y="65"/>
                  </a:moveTo>
                  <a:lnTo>
                    <a:pt x="96" y="65"/>
                  </a:lnTo>
                  <a:cubicBezTo>
                    <a:pt x="96" y="82"/>
                    <a:pt x="82" y="96"/>
                    <a:pt x="64" y="96"/>
                  </a:cubicBezTo>
                  <a:cubicBezTo>
                    <a:pt x="47" y="96"/>
                    <a:pt x="33" y="82"/>
                    <a:pt x="33" y="65"/>
                  </a:cubicBezTo>
                  <a:cubicBezTo>
                    <a:pt x="33" y="48"/>
                    <a:pt x="47" y="34"/>
                    <a:pt x="64" y="34"/>
                  </a:cubicBezTo>
                  <a:cubicBezTo>
                    <a:pt x="82" y="34"/>
                    <a:pt x="96" y="48"/>
                    <a:pt x="96" y="65"/>
                  </a:cubicBezTo>
                  <a:lnTo>
                    <a:pt x="112" y="65"/>
                  </a:lnTo>
                  <a:lnTo>
                    <a:pt x="129" y="65"/>
                  </a:lnTo>
                  <a:cubicBezTo>
                    <a:pt x="129" y="29"/>
                    <a:pt x="100" y="0"/>
                    <a:pt x="64" y="0"/>
                  </a:cubicBezTo>
                  <a:cubicBezTo>
                    <a:pt x="29" y="0"/>
                    <a:pt x="0" y="29"/>
                    <a:pt x="0" y="65"/>
                  </a:cubicBezTo>
                  <a:cubicBezTo>
                    <a:pt x="0" y="100"/>
                    <a:pt x="29" y="129"/>
                    <a:pt x="64" y="129"/>
                  </a:cubicBezTo>
                  <a:cubicBezTo>
                    <a:pt x="100" y="129"/>
                    <a:pt x="129" y="100"/>
                    <a:pt x="129" y="65"/>
                  </a:cubicBezTo>
                  <a:lnTo>
                    <a:pt x="112" y="6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6" name="Freeform 191">
              <a:extLst>
                <a:ext uri="{FF2B5EF4-FFF2-40B4-BE49-F238E27FC236}">
                  <a16:creationId xmlns:a16="http://schemas.microsoft.com/office/drawing/2014/main" id="{1EBF9169-1964-4B3E-9859-BE05AE2097E2}"/>
                </a:ext>
              </a:extLst>
            </p:cNvPr>
            <p:cNvSpPr>
              <a:spLocks/>
            </p:cNvSpPr>
            <p:nvPr/>
          </p:nvSpPr>
          <p:spPr bwMode="auto">
            <a:xfrm>
              <a:off x="4367213" y="6597650"/>
              <a:ext cx="26988" cy="25400"/>
            </a:xfrm>
            <a:custGeom>
              <a:avLst/>
              <a:gdLst>
                <a:gd name="T0" fmla="*/ 113 w 129"/>
                <a:gd name="T1" fmla="*/ 64 h 129"/>
                <a:gd name="T2" fmla="*/ 96 w 129"/>
                <a:gd name="T3" fmla="*/ 64 h 129"/>
                <a:gd name="T4" fmla="*/ 65 w 129"/>
                <a:gd name="T5" fmla="*/ 96 h 129"/>
                <a:gd name="T6" fmla="*/ 65 w 129"/>
                <a:gd name="T7" fmla="*/ 96 h 129"/>
                <a:gd name="T8" fmla="*/ 34 w 129"/>
                <a:gd name="T9" fmla="*/ 65 h 129"/>
                <a:gd name="T10" fmla="*/ 65 w 129"/>
                <a:gd name="T11" fmla="*/ 34 h 129"/>
                <a:gd name="T12" fmla="*/ 96 w 129"/>
                <a:gd name="T13" fmla="*/ 65 h 129"/>
                <a:gd name="T14" fmla="*/ 113 w 129"/>
                <a:gd name="T15" fmla="*/ 64 h 129"/>
                <a:gd name="T16" fmla="*/ 129 w 129"/>
                <a:gd name="T17" fmla="*/ 64 h 129"/>
                <a:gd name="T18" fmla="*/ 65 w 129"/>
                <a:gd name="T19" fmla="*/ 0 h 129"/>
                <a:gd name="T20" fmla="*/ 0 w 129"/>
                <a:gd name="T21" fmla="*/ 65 h 129"/>
                <a:gd name="T22" fmla="*/ 65 w 129"/>
                <a:gd name="T23" fmla="*/ 129 h 129"/>
                <a:gd name="T24" fmla="*/ 129 w 129"/>
                <a:gd name="T25" fmla="*/ 64 h 129"/>
                <a:gd name="T26" fmla="*/ 129 w 129"/>
                <a:gd name="T27" fmla="*/ 64 h 129"/>
                <a:gd name="T28" fmla="*/ 113 w 129"/>
                <a:gd name="T2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29">
                  <a:moveTo>
                    <a:pt x="113" y="64"/>
                  </a:moveTo>
                  <a:lnTo>
                    <a:pt x="96" y="64"/>
                  </a:lnTo>
                  <a:cubicBezTo>
                    <a:pt x="96" y="82"/>
                    <a:pt x="82" y="96"/>
                    <a:pt x="65" y="96"/>
                  </a:cubicBezTo>
                  <a:lnTo>
                    <a:pt x="65" y="96"/>
                  </a:lnTo>
                  <a:cubicBezTo>
                    <a:pt x="48" y="96"/>
                    <a:pt x="34" y="82"/>
                    <a:pt x="34" y="65"/>
                  </a:cubicBezTo>
                  <a:cubicBezTo>
                    <a:pt x="34" y="47"/>
                    <a:pt x="48" y="34"/>
                    <a:pt x="65" y="34"/>
                  </a:cubicBezTo>
                  <a:cubicBezTo>
                    <a:pt x="82" y="34"/>
                    <a:pt x="96" y="47"/>
                    <a:pt x="96" y="65"/>
                  </a:cubicBezTo>
                  <a:lnTo>
                    <a:pt x="113" y="64"/>
                  </a:lnTo>
                  <a:lnTo>
                    <a:pt x="129" y="64"/>
                  </a:lnTo>
                  <a:cubicBezTo>
                    <a:pt x="129" y="29"/>
                    <a:pt x="100" y="0"/>
                    <a:pt x="65" y="0"/>
                  </a:cubicBezTo>
                  <a:cubicBezTo>
                    <a:pt x="29" y="0"/>
                    <a:pt x="0" y="29"/>
                    <a:pt x="0" y="65"/>
                  </a:cubicBezTo>
                  <a:cubicBezTo>
                    <a:pt x="0" y="100"/>
                    <a:pt x="29" y="129"/>
                    <a:pt x="65" y="129"/>
                  </a:cubicBezTo>
                  <a:cubicBezTo>
                    <a:pt x="101" y="129"/>
                    <a:pt x="129" y="100"/>
                    <a:pt x="129" y="64"/>
                  </a:cubicBezTo>
                  <a:lnTo>
                    <a:pt x="129" y="64"/>
                  </a:ln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7" name="Freeform 192">
              <a:extLst>
                <a:ext uri="{FF2B5EF4-FFF2-40B4-BE49-F238E27FC236}">
                  <a16:creationId xmlns:a16="http://schemas.microsoft.com/office/drawing/2014/main" id="{963892B6-2FDE-4D7C-B03D-3CE6DF3D83B1}"/>
                </a:ext>
              </a:extLst>
            </p:cNvPr>
            <p:cNvSpPr>
              <a:spLocks/>
            </p:cNvSpPr>
            <p:nvPr/>
          </p:nvSpPr>
          <p:spPr bwMode="auto">
            <a:xfrm>
              <a:off x="4421188" y="6597650"/>
              <a:ext cx="26988" cy="25400"/>
            </a:xfrm>
            <a:custGeom>
              <a:avLst/>
              <a:gdLst>
                <a:gd name="T0" fmla="*/ 112 w 129"/>
                <a:gd name="T1" fmla="*/ 64 h 129"/>
                <a:gd name="T2" fmla="*/ 96 w 129"/>
                <a:gd name="T3" fmla="*/ 64 h 129"/>
                <a:gd name="T4" fmla="*/ 64 w 129"/>
                <a:gd name="T5" fmla="*/ 95 h 129"/>
                <a:gd name="T6" fmla="*/ 33 w 129"/>
                <a:gd name="T7" fmla="*/ 64 h 129"/>
                <a:gd name="T8" fmla="*/ 64 w 129"/>
                <a:gd name="T9" fmla="*/ 33 h 129"/>
                <a:gd name="T10" fmla="*/ 96 w 129"/>
                <a:gd name="T11" fmla="*/ 64 h 129"/>
                <a:gd name="T12" fmla="*/ 112 w 129"/>
                <a:gd name="T13" fmla="*/ 64 h 129"/>
                <a:gd name="T14" fmla="*/ 129 w 129"/>
                <a:gd name="T15" fmla="*/ 64 h 129"/>
                <a:gd name="T16" fmla="*/ 64 w 129"/>
                <a:gd name="T17" fmla="*/ 0 h 129"/>
                <a:gd name="T18" fmla="*/ 0 w 129"/>
                <a:gd name="T19" fmla="*/ 64 h 129"/>
                <a:gd name="T20" fmla="*/ 64 w 129"/>
                <a:gd name="T21" fmla="*/ 129 h 129"/>
                <a:gd name="T22" fmla="*/ 129 w 129"/>
                <a:gd name="T23" fmla="*/ 64 h 129"/>
                <a:gd name="T24" fmla="*/ 129 w 129"/>
                <a:gd name="T25" fmla="*/ 64 h 129"/>
                <a:gd name="T26" fmla="*/ 112 w 129"/>
                <a:gd name="T27"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129">
                  <a:moveTo>
                    <a:pt x="112" y="64"/>
                  </a:moveTo>
                  <a:lnTo>
                    <a:pt x="96" y="64"/>
                  </a:lnTo>
                  <a:cubicBezTo>
                    <a:pt x="96" y="82"/>
                    <a:pt x="82" y="95"/>
                    <a:pt x="64" y="95"/>
                  </a:cubicBezTo>
                  <a:cubicBezTo>
                    <a:pt x="47" y="95"/>
                    <a:pt x="33" y="82"/>
                    <a:pt x="33" y="64"/>
                  </a:cubicBezTo>
                  <a:cubicBezTo>
                    <a:pt x="33" y="47"/>
                    <a:pt x="47" y="33"/>
                    <a:pt x="64" y="33"/>
                  </a:cubicBezTo>
                  <a:cubicBezTo>
                    <a:pt x="82" y="33"/>
                    <a:pt x="96" y="47"/>
                    <a:pt x="96" y="64"/>
                  </a:cubicBezTo>
                  <a:lnTo>
                    <a:pt x="112" y="64"/>
                  </a:lnTo>
                  <a:lnTo>
                    <a:pt x="129" y="64"/>
                  </a:lnTo>
                  <a:cubicBezTo>
                    <a:pt x="129" y="29"/>
                    <a:pt x="100" y="0"/>
                    <a:pt x="64" y="0"/>
                  </a:cubicBezTo>
                  <a:cubicBezTo>
                    <a:pt x="29" y="0"/>
                    <a:pt x="0" y="29"/>
                    <a:pt x="0" y="64"/>
                  </a:cubicBezTo>
                  <a:cubicBezTo>
                    <a:pt x="0" y="100"/>
                    <a:pt x="29" y="129"/>
                    <a:pt x="64" y="129"/>
                  </a:cubicBezTo>
                  <a:cubicBezTo>
                    <a:pt x="100" y="129"/>
                    <a:pt x="129" y="100"/>
                    <a:pt x="129" y="64"/>
                  </a:cubicBezTo>
                  <a:lnTo>
                    <a:pt x="129" y="64"/>
                  </a:lnTo>
                  <a:lnTo>
                    <a:pt x="112"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8" name="Freeform 193">
              <a:extLst>
                <a:ext uri="{FF2B5EF4-FFF2-40B4-BE49-F238E27FC236}">
                  <a16:creationId xmlns:a16="http://schemas.microsoft.com/office/drawing/2014/main" id="{E86D01E8-1D0A-43F5-AAD8-A76694D12A42}"/>
                </a:ext>
              </a:extLst>
            </p:cNvPr>
            <p:cNvSpPr>
              <a:spLocks/>
            </p:cNvSpPr>
            <p:nvPr/>
          </p:nvSpPr>
          <p:spPr bwMode="auto">
            <a:xfrm>
              <a:off x="4475163" y="6597650"/>
              <a:ext cx="25400"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8"/>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9" name="Freeform 194">
              <a:extLst>
                <a:ext uri="{FF2B5EF4-FFF2-40B4-BE49-F238E27FC236}">
                  <a16:creationId xmlns:a16="http://schemas.microsoft.com/office/drawing/2014/main" id="{6852AF3B-3CE5-401C-B08F-3E97A56C3BB1}"/>
                </a:ext>
              </a:extLst>
            </p:cNvPr>
            <p:cNvSpPr>
              <a:spLocks/>
            </p:cNvSpPr>
            <p:nvPr/>
          </p:nvSpPr>
          <p:spPr bwMode="auto">
            <a:xfrm>
              <a:off x="4249738" y="6589713"/>
              <a:ext cx="261938" cy="41275"/>
            </a:xfrm>
            <a:custGeom>
              <a:avLst/>
              <a:gdLst>
                <a:gd name="T0" fmla="*/ 1174 w 1276"/>
                <a:gd name="T1" fmla="*/ 187 h 205"/>
                <a:gd name="T2" fmla="*/ 1174 w 1276"/>
                <a:gd name="T3" fmla="*/ 171 h 205"/>
                <a:gd name="T4" fmla="*/ 102 w 1276"/>
                <a:gd name="T5" fmla="*/ 172 h 205"/>
                <a:gd name="T6" fmla="*/ 34 w 1276"/>
                <a:gd name="T7" fmla="*/ 103 h 205"/>
                <a:gd name="T8" fmla="*/ 102 w 1276"/>
                <a:gd name="T9" fmla="*/ 35 h 205"/>
                <a:gd name="T10" fmla="*/ 1174 w 1276"/>
                <a:gd name="T11" fmla="*/ 33 h 205"/>
                <a:gd name="T12" fmla="*/ 1242 w 1276"/>
                <a:gd name="T13" fmla="*/ 102 h 205"/>
                <a:gd name="T14" fmla="*/ 1174 w 1276"/>
                <a:gd name="T15" fmla="*/ 171 h 205"/>
                <a:gd name="T16" fmla="*/ 1174 w 1276"/>
                <a:gd name="T17" fmla="*/ 187 h 205"/>
                <a:gd name="T18" fmla="*/ 1174 w 1276"/>
                <a:gd name="T19" fmla="*/ 204 h 205"/>
                <a:gd name="T20" fmla="*/ 1276 w 1276"/>
                <a:gd name="T21" fmla="*/ 102 h 205"/>
                <a:gd name="T22" fmla="*/ 1174 w 1276"/>
                <a:gd name="T23" fmla="*/ 0 h 205"/>
                <a:gd name="T24" fmla="*/ 102 w 1276"/>
                <a:gd name="T25" fmla="*/ 1 h 205"/>
                <a:gd name="T26" fmla="*/ 0 w 1276"/>
                <a:gd name="T27" fmla="*/ 103 h 205"/>
                <a:gd name="T28" fmla="*/ 102 w 1276"/>
                <a:gd name="T29" fmla="*/ 205 h 205"/>
                <a:gd name="T30" fmla="*/ 1174 w 1276"/>
                <a:gd name="T31" fmla="*/ 204 h 205"/>
                <a:gd name="T32" fmla="*/ 1174 w 1276"/>
                <a:gd name="T33" fmla="*/ 1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6" h="205">
                  <a:moveTo>
                    <a:pt x="1174" y="187"/>
                  </a:moveTo>
                  <a:lnTo>
                    <a:pt x="1174" y="171"/>
                  </a:lnTo>
                  <a:lnTo>
                    <a:pt x="102" y="172"/>
                  </a:lnTo>
                  <a:cubicBezTo>
                    <a:pt x="64" y="172"/>
                    <a:pt x="34" y="141"/>
                    <a:pt x="34" y="103"/>
                  </a:cubicBezTo>
                  <a:cubicBezTo>
                    <a:pt x="34" y="65"/>
                    <a:pt x="64" y="35"/>
                    <a:pt x="102" y="35"/>
                  </a:cubicBezTo>
                  <a:lnTo>
                    <a:pt x="1174" y="33"/>
                  </a:lnTo>
                  <a:cubicBezTo>
                    <a:pt x="1212" y="33"/>
                    <a:pt x="1242" y="64"/>
                    <a:pt x="1242" y="102"/>
                  </a:cubicBezTo>
                  <a:cubicBezTo>
                    <a:pt x="1242" y="140"/>
                    <a:pt x="1212" y="170"/>
                    <a:pt x="1174" y="171"/>
                  </a:cubicBezTo>
                  <a:lnTo>
                    <a:pt x="1174" y="187"/>
                  </a:lnTo>
                  <a:lnTo>
                    <a:pt x="1174" y="204"/>
                  </a:lnTo>
                  <a:cubicBezTo>
                    <a:pt x="1230" y="204"/>
                    <a:pt x="1276" y="158"/>
                    <a:pt x="1276" y="102"/>
                  </a:cubicBezTo>
                  <a:cubicBezTo>
                    <a:pt x="1275" y="46"/>
                    <a:pt x="1230" y="0"/>
                    <a:pt x="1174" y="0"/>
                  </a:cubicBezTo>
                  <a:lnTo>
                    <a:pt x="102" y="1"/>
                  </a:lnTo>
                  <a:cubicBezTo>
                    <a:pt x="46" y="1"/>
                    <a:pt x="0" y="47"/>
                    <a:pt x="0" y="103"/>
                  </a:cubicBezTo>
                  <a:cubicBezTo>
                    <a:pt x="0" y="159"/>
                    <a:pt x="46" y="205"/>
                    <a:pt x="102" y="205"/>
                  </a:cubicBezTo>
                  <a:lnTo>
                    <a:pt x="1174" y="204"/>
                  </a:lnTo>
                  <a:lnTo>
                    <a:pt x="1174" y="18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0" name="Freeform 195">
              <a:extLst>
                <a:ext uri="{FF2B5EF4-FFF2-40B4-BE49-F238E27FC236}">
                  <a16:creationId xmlns:a16="http://schemas.microsoft.com/office/drawing/2014/main" id="{C8775042-36C0-424F-94A8-0DB2CDC88C9F}"/>
                </a:ext>
              </a:extLst>
            </p:cNvPr>
            <p:cNvSpPr>
              <a:spLocks/>
            </p:cNvSpPr>
            <p:nvPr/>
          </p:nvSpPr>
          <p:spPr bwMode="auto">
            <a:xfrm>
              <a:off x="4270376" y="6494463"/>
              <a:ext cx="100013" cy="101600"/>
            </a:xfrm>
            <a:custGeom>
              <a:avLst/>
              <a:gdLst>
                <a:gd name="T0" fmla="*/ 468 w 485"/>
                <a:gd name="T1" fmla="*/ 461 h 496"/>
                <a:gd name="T2" fmla="*/ 34 w 485"/>
                <a:gd name="T3" fmla="*/ 462 h 496"/>
                <a:gd name="T4" fmla="*/ 33 w 485"/>
                <a:gd name="T5" fmla="*/ 264 h 496"/>
                <a:gd name="T6" fmla="*/ 77 w 485"/>
                <a:gd name="T7" fmla="*/ 183 h 496"/>
                <a:gd name="T8" fmla="*/ 77 w 485"/>
                <a:gd name="T9" fmla="*/ 183 h 496"/>
                <a:gd name="T10" fmla="*/ 141 w 485"/>
                <a:gd name="T11" fmla="*/ 141 h 496"/>
                <a:gd name="T12" fmla="*/ 141 w 485"/>
                <a:gd name="T13" fmla="*/ 141 h 496"/>
                <a:gd name="T14" fmla="*/ 189 w 485"/>
                <a:gd name="T15" fmla="*/ 51 h 496"/>
                <a:gd name="T16" fmla="*/ 189 w 485"/>
                <a:gd name="T17" fmla="*/ 46 h 496"/>
                <a:gd name="T18" fmla="*/ 173 w 485"/>
                <a:gd name="T19" fmla="*/ 46 h 496"/>
                <a:gd name="T20" fmla="*/ 160 w 485"/>
                <a:gd name="T21" fmla="*/ 57 h 496"/>
                <a:gd name="T22" fmla="*/ 242 w 485"/>
                <a:gd name="T23" fmla="*/ 98 h 496"/>
                <a:gd name="T24" fmla="*/ 325 w 485"/>
                <a:gd name="T25" fmla="*/ 57 h 496"/>
                <a:gd name="T26" fmla="*/ 312 w 485"/>
                <a:gd name="T27" fmla="*/ 46 h 496"/>
                <a:gd name="T28" fmla="*/ 295 w 485"/>
                <a:gd name="T29" fmla="*/ 46 h 496"/>
                <a:gd name="T30" fmla="*/ 295 w 485"/>
                <a:gd name="T31" fmla="*/ 51 h 496"/>
                <a:gd name="T32" fmla="*/ 343 w 485"/>
                <a:gd name="T33" fmla="*/ 141 h 496"/>
                <a:gd name="T34" fmla="*/ 408 w 485"/>
                <a:gd name="T35" fmla="*/ 183 h 496"/>
                <a:gd name="T36" fmla="*/ 408 w 485"/>
                <a:gd name="T37" fmla="*/ 183 h 496"/>
                <a:gd name="T38" fmla="*/ 452 w 485"/>
                <a:gd name="T39" fmla="*/ 264 h 496"/>
                <a:gd name="T40" fmla="*/ 452 w 485"/>
                <a:gd name="T41" fmla="*/ 292 h 496"/>
                <a:gd name="T42" fmla="*/ 485 w 485"/>
                <a:gd name="T43" fmla="*/ 292 h 496"/>
                <a:gd name="T44" fmla="*/ 485 w 485"/>
                <a:gd name="T45" fmla="*/ 264 h 496"/>
                <a:gd name="T46" fmla="*/ 426 w 485"/>
                <a:gd name="T47" fmla="*/ 155 h 496"/>
                <a:gd name="T48" fmla="*/ 426 w 485"/>
                <a:gd name="T49" fmla="*/ 155 h 496"/>
                <a:gd name="T50" fmla="*/ 362 w 485"/>
                <a:gd name="T51" fmla="*/ 113 h 496"/>
                <a:gd name="T52" fmla="*/ 329 w 485"/>
                <a:gd name="T53" fmla="*/ 51 h 496"/>
                <a:gd name="T54" fmla="*/ 329 w 485"/>
                <a:gd name="T55" fmla="*/ 46 h 496"/>
                <a:gd name="T56" fmla="*/ 329 w 485"/>
                <a:gd name="T57" fmla="*/ 0 h 496"/>
                <a:gd name="T58" fmla="*/ 299 w 485"/>
                <a:gd name="T59" fmla="*/ 35 h 496"/>
                <a:gd name="T60" fmla="*/ 242 w 485"/>
                <a:gd name="T61" fmla="*/ 64 h 496"/>
                <a:gd name="T62" fmla="*/ 185 w 485"/>
                <a:gd name="T63" fmla="*/ 35 h 496"/>
                <a:gd name="T64" fmla="*/ 156 w 485"/>
                <a:gd name="T65" fmla="*/ 1 h 496"/>
                <a:gd name="T66" fmla="*/ 156 w 485"/>
                <a:gd name="T67" fmla="*/ 51 h 496"/>
                <a:gd name="T68" fmla="*/ 123 w 485"/>
                <a:gd name="T69" fmla="*/ 113 h 496"/>
                <a:gd name="T70" fmla="*/ 123 w 485"/>
                <a:gd name="T71" fmla="*/ 113 h 496"/>
                <a:gd name="T72" fmla="*/ 59 w 485"/>
                <a:gd name="T73" fmla="*/ 155 h 496"/>
                <a:gd name="T74" fmla="*/ 59 w 485"/>
                <a:gd name="T75" fmla="*/ 155 h 496"/>
                <a:gd name="T76" fmla="*/ 0 w 485"/>
                <a:gd name="T77" fmla="*/ 264 h 496"/>
                <a:gd name="T78" fmla="*/ 0 w 485"/>
                <a:gd name="T79" fmla="*/ 496 h 496"/>
                <a:gd name="T80" fmla="*/ 468 w 485"/>
                <a:gd name="T81" fmla="*/ 494 h 496"/>
                <a:gd name="T82" fmla="*/ 468 w 485"/>
                <a:gd name="T83" fmla="*/ 46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496">
                  <a:moveTo>
                    <a:pt x="468" y="461"/>
                  </a:moveTo>
                  <a:lnTo>
                    <a:pt x="34" y="462"/>
                  </a:lnTo>
                  <a:lnTo>
                    <a:pt x="33" y="264"/>
                  </a:lnTo>
                  <a:cubicBezTo>
                    <a:pt x="33" y="231"/>
                    <a:pt x="50" y="201"/>
                    <a:pt x="77" y="183"/>
                  </a:cubicBezTo>
                  <a:lnTo>
                    <a:pt x="77" y="183"/>
                  </a:lnTo>
                  <a:lnTo>
                    <a:pt x="141" y="141"/>
                  </a:lnTo>
                  <a:lnTo>
                    <a:pt x="141" y="141"/>
                  </a:lnTo>
                  <a:cubicBezTo>
                    <a:pt x="171" y="121"/>
                    <a:pt x="189" y="87"/>
                    <a:pt x="189" y="51"/>
                  </a:cubicBezTo>
                  <a:lnTo>
                    <a:pt x="189" y="46"/>
                  </a:lnTo>
                  <a:lnTo>
                    <a:pt x="173" y="46"/>
                  </a:lnTo>
                  <a:lnTo>
                    <a:pt x="160" y="57"/>
                  </a:lnTo>
                  <a:cubicBezTo>
                    <a:pt x="181" y="82"/>
                    <a:pt x="210" y="98"/>
                    <a:pt x="242" y="98"/>
                  </a:cubicBezTo>
                  <a:cubicBezTo>
                    <a:pt x="275" y="98"/>
                    <a:pt x="304" y="82"/>
                    <a:pt x="325" y="57"/>
                  </a:cubicBezTo>
                  <a:lnTo>
                    <a:pt x="312" y="46"/>
                  </a:lnTo>
                  <a:lnTo>
                    <a:pt x="295" y="46"/>
                  </a:lnTo>
                  <a:lnTo>
                    <a:pt x="295" y="51"/>
                  </a:lnTo>
                  <a:cubicBezTo>
                    <a:pt x="295" y="87"/>
                    <a:pt x="313" y="121"/>
                    <a:pt x="343" y="141"/>
                  </a:cubicBezTo>
                  <a:lnTo>
                    <a:pt x="408" y="183"/>
                  </a:lnTo>
                  <a:lnTo>
                    <a:pt x="408" y="183"/>
                  </a:lnTo>
                  <a:cubicBezTo>
                    <a:pt x="435" y="201"/>
                    <a:pt x="451" y="231"/>
                    <a:pt x="452" y="264"/>
                  </a:cubicBezTo>
                  <a:lnTo>
                    <a:pt x="452" y="292"/>
                  </a:lnTo>
                  <a:lnTo>
                    <a:pt x="485" y="292"/>
                  </a:lnTo>
                  <a:lnTo>
                    <a:pt x="485" y="264"/>
                  </a:lnTo>
                  <a:cubicBezTo>
                    <a:pt x="485" y="220"/>
                    <a:pt x="463" y="179"/>
                    <a:pt x="426" y="155"/>
                  </a:cubicBezTo>
                  <a:lnTo>
                    <a:pt x="426" y="155"/>
                  </a:lnTo>
                  <a:lnTo>
                    <a:pt x="362" y="113"/>
                  </a:lnTo>
                  <a:cubicBezTo>
                    <a:pt x="341" y="99"/>
                    <a:pt x="329" y="76"/>
                    <a:pt x="329" y="51"/>
                  </a:cubicBezTo>
                  <a:lnTo>
                    <a:pt x="329" y="46"/>
                  </a:lnTo>
                  <a:lnTo>
                    <a:pt x="329" y="0"/>
                  </a:lnTo>
                  <a:lnTo>
                    <a:pt x="299" y="35"/>
                  </a:lnTo>
                  <a:cubicBezTo>
                    <a:pt x="283" y="54"/>
                    <a:pt x="263" y="64"/>
                    <a:pt x="242" y="64"/>
                  </a:cubicBezTo>
                  <a:cubicBezTo>
                    <a:pt x="221" y="64"/>
                    <a:pt x="202" y="54"/>
                    <a:pt x="185" y="35"/>
                  </a:cubicBezTo>
                  <a:lnTo>
                    <a:pt x="156" y="1"/>
                  </a:lnTo>
                  <a:lnTo>
                    <a:pt x="156" y="51"/>
                  </a:lnTo>
                  <a:cubicBezTo>
                    <a:pt x="156" y="76"/>
                    <a:pt x="143" y="99"/>
                    <a:pt x="123" y="113"/>
                  </a:cubicBezTo>
                  <a:lnTo>
                    <a:pt x="123" y="113"/>
                  </a:lnTo>
                  <a:lnTo>
                    <a:pt x="59" y="155"/>
                  </a:lnTo>
                  <a:lnTo>
                    <a:pt x="59" y="155"/>
                  </a:lnTo>
                  <a:cubicBezTo>
                    <a:pt x="22" y="179"/>
                    <a:pt x="0" y="220"/>
                    <a:pt x="0" y="264"/>
                  </a:cubicBezTo>
                  <a:lnTo>
                    <a:pt x="0" y="496"/>
                  </a:lnTo>
                  <a:lnTo>
                    <a:pt x="468" y="494"/>
                  </a:lnTo>
                  <a:lnTo>
                    <a:pt x="468" y="461"/>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1" name="Freeform 196">
              <a:extLst>
                <a:ext uri="{FF2B5EF4-FFF2-40B4-BE49-F238E27FC236}">
                  <a16:creationId xmlns:a16="http://schemas.microsoft.com/office/drawing/2014/main" id="{1096A510-444A-4D6B-A2A8-1496FBE8E68C}"/>
                </a:ext>
              </a:extLst>
            </p:cNvPr>
            <p:cNvSpPr>
              <a:spLocks/>
            </p:cNvSpPr>
            <p:nvPr/>
          </p:nvSpPr>
          <p:spPr bwMode="auto">
            <a:xfrm>
              <a:off x="4294188" y="6477000"/>
              <a:ext cx="50800" cy="38100"/>
            </a:xfrm>
            <a:custGeom>
              <a:avLst/>
              <a:gdLst>
                <a:gd name="T0" fmla="*/ 231 w 248"/>
                <a:gd name="T1" fmla="*/ 17 h 180"/>
                <a:gd name="T2" fmla="*/ 215 w 248"/>
                <a:gd name="T3" fmla="*/ 17 h 180"/>
                <a:gd name="T4" fmla="*/ 181 w 248"/>
                <a:gd name="T5" fmla="*/ 117 h 180"/>
                <a:gd name="T6" fmla="*/ 181 w 248"/>
                <a:gd name="T7" fmla="*/ 117 h 180"/>
                <a:gd name="T8" fmla="*/ 124 w 248"/>
                <a:gd name="T9" fmla="*/ 146 h 180"/>
                <a:gd name="T10" fmla="*/ 67 w 248"/>
                <a:gd name="T11" fmla="*/ 117 h 180"/>
                <a:gd name="T12" fmla="*/ 67 w 248"/>
                <a:gd name="T13" fmla="*/ 117 h 180"/>
                <a:gd name="T14" fmla="*/ 34 w 248"/>
                <a:gd name="T15" fmla="*/ 17 h 180"/>
                <a:gd name="T16" fmla="*/ 17 w 248"/>
                <a:gd name="T17" fmla="*/ 17 h 180"/>
                <a:gd name="T18" fmla="*/ 17 w 248"/>
                <a:gd name="T19" fmla="*/ 33 h 180"/>
                <a:gd name="T20" fmla="*/ 231 w 248"/>
                <a:gd name="T21" fmla="*/ 33 h 180"/>
                <a:gd name="T22" fmla="*/ 231 w 248"/>
                <a:gd name="T23" fmla="*/ 17 h 180"/>
                <a:gd name="T24" fmla="*/ 215 w 248"/>
                <a:gd name="T25" fmla="*/ 17 h 180"/>
                <a:gd name="T26" fmla="*/ 231 w 248"/>
                <a:gd name="T27" fmla="*/ 17 h 180"/>
                <a:gd name="T28" fmla="*/ 231 w 248"/>
                <a:gd name="T29" fmla="*/ 0 h 180"/>
                <a:gd name="T30" fmla="*/ 0 w 248"/>
                <a:gd name="T31" fmla="*/ 0 h 180"/>
                <a:gd name="T32" fmla="*/ 0 w 248"/>
                <a:gd name="T33" fmla="*/ 17 h 180"/>
                <a:gd name="T34" fmla="*/ 42 w 248"/>
                <a:gd name="T35" fmla="*/ 139 h 180"/>
                <a:gd name="T36" fmla="*/ 42 w 248"/>
                <a:gd name="T37" fmla="*/ 139 h 180"/>
                <a:gd name="T38" fmla="*/ 124 w 248"/>
                <a:gd name="T39" fmla="*/ 180 h 180"/>
                <a:gd name="T40" fmla="*/ 207 w 248"/>
                <a:gd name="T41" fmla="*/ 139 h 180"/>
                <a:gd name="T42" fmla="*/ 207 w 248"/>
                <a:gd name="T43" fmla="*/ 139 h 180"/>
                <a:gd name="T44" fmla="*/ 248 w 248"/>
                <a:gd name="T45" fmla="*/ 17 h 180"/>
                <a:gd name="T46" fmla="*/ 248 w 248"/>
                <a:gd name="T47" fmla="*/ 0 h 180"/>
                <a:gd name="T48" fmla="*/ 231 w 248"/>
                <a:gd name="T49" fmla="*/ 0 h 180"/>
                <a:gd name="T50" fmla="*/ 231 w 248"/>
                <a:gd name="T51"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180">
                  <a:moveTo>
                    <a:pt x="231" y="17"/>
                  </a:moveTo>
                  <a:lnTo>
                    <a:pt x="215" y="17"/>
                  </a:lnTo>
                  <a:cubicBezTo>
                    <a:pt x="215" y="58"/>
                    <a:pt x="201" y="94"/>
                    <a:pt x="181" y="117"/>
                  </a:cubicBezTo>
                  <a:lnTo>
                    <a:pt x="181" y="117"/>
                  </a:lnTo>
                  <a:cubicBezTo>
                    <a:pt x="165" y="136"/>
                    <a:pt x="145" y="146"/>
                    <a:pt x="124" y="146"/>
                  </a:cubicBezTo>
                  <a:cubicBezTo>
                    <a:pt x="103" y="146"/>
                    <a:pt x="84" y="136"/>
                    <a:pt x="67" y="117"/>
                  </a:cubicBezTo>
                  <a:lnTo>
                    <a:pt x="67" y="117"/>
                  </a:lnTo>
                  <a:cubicBezTo>
                    <a:pt x="47" y="94"/>
                    <a:pt x="34" y="58"/>
                    <a:pt x="34" y="17"/>
                  </a:cubicBezTo>
                  <a:lnTo>
                    <a:pt x="17" y="17"/>
                  </a:lnTo>
                  <a:lnTo>
                    <a:pt x="17" y="33"/>
                  </a:lnTo>
                  <a:lnTo>
                    <a:pt x="231" y="33"/>
                  </a:lnTo>
                  <a:lnTo>
                    <a:pt x="231" y="17"/>
                  </a:lnTo>
                  <a:lnTo>
                    <a:pt x="215" y="17"/>
                  </a:lnTo>
                  <a:lnTo>
                    <a:pt x="231" y="17"/>
                  </a:lnTo>
                  <a:lnTo>
                    <a:pt x="231" y="0"/>
                  </a:lnTo>
                  <a:lnTo>
                    <a:pt x="0" y="0"/>
                  </a:lnTo>
                  <a:lnTo>
                    <a:pt x="0" y="17"/>
                  </a:lnTo>
                  <a:cubicBezTo>
                    <a:pt x="0" y="65"/>
                    <a:pt x="16" y="109"/>
                    <a:pt x="42" y="139"/>
                  </a:cubicBezTo>
                  <a:lnTo>
                    <a:pt x="42" y="139"/>
                  </a:lnTo>
                  <a:cubicBezTo>
                    <a:pt x="63" y="164"/>
                    <a:pt x="92" y="180"/>
                    <a:pt x="124" y="180"/>
                  </a:cubicBezTo>
                  <a:cubicBezTo>
                    <a:pt x="157" y="180"/>
                    <a:pt x="186" y="164"/>
                    <a:pt x="207" y="139"/>
                  </a:cubicBezTo>
                  <a:lnTo>
                    <a:pt x="207" y="139"/>
                  </a:lnTo>
                  <a:cubicBezTo>
                    <a:pt x="233" y="108"/>
                    <a:pt x="248" y="65"/>
                    <a:pt x="248" y="17"/>
                  </a:cubicBezTo>
                  <a:lnTo>
                    <a:pt x="248" y="0"/>
                  </a:lnTo>
                  <a:lnTo>
                    <a:pt x="231" y="0"/>
                  </a:lnTo>
                  <a:lnTo>
                    <a:pt x="231"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2" name="Freeform 197">
              <a:extLst>
                <a:ext uri="{FF2B5EF4-FFF2-40B4-BE49-F238E27FC236}">
                  <a16:creationId xmlns:a16="http://schemas.microsoft.com/office/drawing/2014/main" id="{D1087C96-1D50-4EC7-A943-C12C006FB3AC}"/>
                </a:ext>
              </a:extLst>
            </p:cNvPr>
            <p:cNvSpPr>
              <a:spLocks/>
            </p:cNvSpPr>
            <p:nvPr/>
          </p:nvSpPr>
          <p:spPr bwMode="auto">
            <a:xfrm>
              <a:off x="4284663" y="6440488"/>
              <a:ext cx="69850" cy="44450"/>
            </a:xfrm>
            <a:custGeom>
              <a:avLst/>
              <a:gdLst>
                <a:gd name="T0" fmla="*/ 326 w 342"/>
                <a:gd name="T1" fmla="*/ 196 h 213"/>
                <a:gd name="T2" fmla="*/ 326 w 342"/>
                <a:gd name="T3" fmla="*/ 179 h 213"/>
                <a:gd name="T4" fmla="*/ 16 w 342"/>
                <a:gd name="T5" fmla="*/ 179 h 213"/>
                <a:gd name="T6" fmla="*/ 16 w 342"/>
                <a:gd name="T7" fmla="*/ 196 h 213"/>
                <a:gd name="T8" fmla="*/ 33 w 342"/>
                <a:gd name="T9" fmla="*/ 196 h 213"/>
                <a:gd name="T10" fmla="*/ 74 w 342"/>
                <a:gd name="T11" fmla="*/ 80 h 213"/>
                <a:gd name="T12" fmla="*/ 171 w 342"/>
                <a:gd name="T13" fmla="*/ 34 h 213"/>
                <a:gd name="T14" fmla="*/ 268 w 342"/>
                <a:gd name="T15" fmla="*/ 80 h 213"/>
                <a:gd name="T16" fmla="*/ 309 w 342"/>
                <a:gd name="T17" fmla="*/ 196 h 213"/>
                <a:gd name="T18" fmla="*/ 326 w 342"/>
                <a:gd name="T19" fmla="*/ 196 h 213"/>
                <a:gd name="T20" fmla="*/ 326 w 342"/>
                <a:gd name="T21" fmla="*/ 179 h 213"/>
                <a:gd name="T22" fmla="*/ 326 w 342"/>
                <a:gd name="T23" fmla="*/ 196 h 213"/>
                <a:gd name="T24" fmla="*/ 342 w 342"/>
                <a:gd name="T25" fmla="*/ 196 h 213"/>
                <a:gd name="T26" fmla="*/ 293 w 342"/>
                <a:gd name="T27" fmla="*/ 58 h 213"/>
                <a:gd name="T28" fmla="*/ 171 w 342"/>
                <a:gd name="T29" fmla="*/ 0 h 213"/>
                <a:gd name="T30" fmla="*/ 49 w 342"/>
                <a:gd name="T31" fmla="*/ 58 h 213"/>
                <a:gd name="T32" fmla="*/ 0 w 342"/>
                <a:gd name="T33" fmla="*/ 196 h 213"/>
                <a:gd name="T34" fmla="*/ 0 w 342"/>
                <a:gd name="T35" fmla="*/ 213 h 213"/>
                <a:gd name="T36" fmla="*/ 342 w 342"/>
                <a:gd name="T37" fmla="*/ 212 h 213"/>
                <a:gd name="T38" fmla="*/ 342 w 342"/>
                <a:gd name="T39" fmla="*/ 196 h 213"/>
                <a:gd name="T40" fmla="*/ 326 w 342"/>
                <a:gd name="T41"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2" h="213">
                  <a:moveTo>
                    <a:pt x="326" y="196"/>
                  </a:moveTo>
                  <a:lnTo>
                    <a:pt x="326" y="179"/>
                  </a:lnTo>
                  <a:lnTo>
                    <a:pt x="16" y="179"/>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326" y="196"/>
                  </a:lnTo>
                  <a:lnTo>
                    <a:pt x="342" y="196"/>
                  </a:lnTo>
                  <a:cubicBezTo>
                    <a:pt x="342" y="142"/>
                    <a:pt x="324" y="94"/>
                    <a:pt x="293" y="58"/>
                  </a:cubicBezTo>
                  <a:cubicBezTo>
                    <a:pt x="262" y="23"/>
                    <a:pt x="219" y="0"/>
                    <a:pt x="171" y="0"/>
                  </a:cubicBezTo>
                  <a:cubicBezTo>
                    <a:pt x="123" y="0"/>
                    <a:pt x="80" y="23"/>
                    <a:pt x="49" y="58"/>
                  </a:cubicBezTo>
                  <a:cubicBezTo>
                    <a:pt x="18" y="94"/>
                    <a:pt x="0" y="143"/>
                    <a:pt x="0" y="196"/>
                  </a:cubicBezTo>
                  <a:lnTo>
                    <a:pt x="0" y="213"/>
                  </a:lnTo>
                  <a:lnTo>
                    <a:pt x="342" y="212"/>
                  </a:lnTo>
                  <a:lnTo>
                    <a:pt x="342" y="196"/>
                  </a:lnTo>
                  <a:lnTo>
                    <a:pt x="32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3" name="Freeform 198">
              <a:extLst>
                <a:ext uri="{FF2B5EF4-FFF2-40B4-BE49-F238E27FC236}">
                  <a16:creationId xmlns:a16="http://schemas.microsoft.com/office/drawing/2014/main" id="{15C390DC-8AE1-4ADD-AF82-D7D166DBD953}"/>
                </a:ext>
              </a:extLst>
            </p:cNvPr>
            <p:cNvSpPr>
              <a:spLocks/>
            </p:cNvSpPr>
            <p:nvPr/>
          </p:nvSpPr>
          <p:spPr bwMode="auto">
            <a:xfrm>
              <a:off x="43164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4" name="Freeform 199">
              <a:extLst>
                <a:ext uri="{FF2B5EF4-FFF2-40B4-BE49-F238E27FC236}">
                  <a16:creationId xmlns:a16="http://schemas.microsoft.com/office/drawing/2014/main" id="{07C8C20E-5367-4235-8353-7A56BFE1F347}"/>
                </a:ext>
              </a:extLst>
            </p:cNvPr>
            <p:cNvSpPr>
              <a:spLocks/>
            </p:cNvSpPr>
            <p:nvPr/>
          </p:nvSpPr>
          <p:spPr bwMode="auto">
            <a:xfrm>
              <a:off x="4292601" y="6535738"/>
              <a:ext cx="53975" cy="60325"/>
            </a:xfrm>
            <a:custGeom>
              <a:avLst/>
              <a:gdLst>
                <a:gd name="T0" fmla="*/ 187 w 264"/>
                <a:gd name="T1" fmla="*/ 260 h 293"/>
                <a:gd name="T2" fmla="*/ 35 w 264"/>
                <a:gd name="T3" fmla="*/ 260 h 293"/>
                <a:gd name="T4" fmla="*/ 45 w 264"/>
                <a:gd name="T5" fmla="*/ 57 h 293"/>
                <a:gd name="T6" fmla="*/ 45 w 264"/>
                <a:gd name="T7" fmla="*/ 56 h 293"/>
                <a:gd name="T8" fmla="*/ 68 w 264"/>
                <a:gd name="T9" fmla="*/ 33 h 293"/>
                <a:gd name="T10" fmla="*/ 203 w 264"/>
                <a:gd name="T11" fmla="*/ 33 h 293"/>
                <a:gd name="T12" fmla="*/ 226 w 264"/>
                <a:gd name="T13" fmla="*/ 56 h 293"/>
                <a:gd name="T14" fmla="*/ 226 w 264"/>
                <a:gd name="T15" fmla="*/ 57 h 293"/>
                <a:gd name="T16" fmla="*/ 230 w 264"/>
                <a:gd name="T17" fmla="*/ 147 h 293"/>
                <a:gd name="T18" fmla="*/ 264 w 264"/>
                <a:gd name="T19" fmla="*/ 146 h 293"/>
                <a:gd name="T20" fmla="*/ 259 w 264"/>
                <a:gd name="T21" fmla="*/ 55 h 293"/>
                <a:gd name="T22" fmla="*/ 243 w 264"/>
                <a:gd name="T23" fmla="*/ 56 h 293"/>
                <a:gd name="T24" fmla="*/ 259 w 264"/>
                <a:gd name="T25" fmla="*/ 56 h 293"/>
                <a:gd name="T26" fmla="*/ 203 w 264"/>
                <a:gd name="T27" fmla="*/ 0 h 293"/>
                <a:gd name="T28" fmla="*/ 68 w 264"/>
                <a:gd name="T29" fmla="*/ 0 h 293"/>
                <a:gd name="T30" fmla="*/ 11 w 264"/>
                <a:gd name="T31" fmla="*/ 56 h 293"/>
                <a:gd name="T32" fmla="*/ 28 w 264"/>
                <a:gd name="T33" fmla="*/ 56 h 293"/>
                <a:gd name="T34" fmla="*/ 12 w 264"/>
                <a:gd name="T35" fmla="*/ 55 h 293"/>
                <a:gd name="T36" fmla="*/ 0 w 264"/>
                <a:gd name="T37" fmla="*/ 293 h 293"/>
                <a:gd name="T38" fmla="*/ 187 w 264"/>
                <a:gd name="T39" fmla="*/ 293 h 293"/>
                <a:gd name="T40" fmla="*/ 187 w 264"/>
                <a:gd name="T41" fmla="*/ 26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293">
                  <a:moveTo>
                    <a:pt x="187" y="260"/>
                  </a:moveTo>
                  <a:lnTo>
                    <a:pt x="35" y="260"/>
                  </a:lnTo>
                  <a:lnTo>
                    <a:pt x="45" y="57"/>
                  </a:lnTo>
                  <a:lnTo>
                    <a:pt x="45" y="56"/>
                  </a:lnTo>
                  <a:cubicBezTo>
                    <a:pt x="45" y="43"/>
                    <a:pt x="55" y="33"/>
                    <a:pt x="68" y="33"/>
                  </a:cubicBezTo>
                  <a:lnTo>
                    <a:pt x="203" y="33"/>
                  </a:lnTo>
                  <a:cubicBezTo>
                    <a:pt x="216" y="33"/>
                    <a:pt x="226" y="43"/>
                    <a:pt x="226" y="56"/>
                  </a:cubicBezTo>
                  <a:lnTo>
                    <a:pt x="226" y="57"/>
                  </a:lnTo>
                  <a:lnTo>
                    <a:pt x="230" y="147"/>
                  </a:lnTo>
                  <a:lnTo>
                    <a:pt x="264" y="146"/>
                  </a:lnTo>
                  <a:lnTo>
                    <a:pt x="259" y="55"/>
                  </a:lnTo>
                  <a:lnTo>
                    <a:pt x="243" y="56"/>
                  </a:lnTo>
                  <a:lnTo>
                    <a:pt x="259" y="56"/>
                  </a:lnTo>
                  <a:cubicBezTo>
                    <a:pt x="259" y="25"/>
                    <a:pt x="234" y="0"/>
                    <a:pt x="203" y="0"/>
                  </a:cubicBezTo>
                  <a:lnTo>
                    <a:pt x="68" y="0"/>
                  </a:lnTo>
                  <a:cubicBezTo>
                    <a:pt x="37" y="0"/>
                    <a:pt x="11" y="25"/>
                    <a:pt x="11" y="56"/>
                  </a:cubicBezTo>
                  <a:lnTo>
                    <a:pt x="28" y="56"/>
                  </a:lnTo>
                  <a:lnTo>
                    <a:pt x="12" y="55"/>
                  </a:lnTo>
                  <a:lnTo>
                    <a:pt x="0" y="293"/>
                  </a:lnTo>
                  <a:lnTo>
                    <a:pt x="187" y="293"/>
                  </a:lnTo>
                  <a:lnTo>
                    <a:pt x="187" y="26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5" name="Freeform 200">
              <a:extLst>
                <a:ext uri="{FF2B5EF4-FFF2-40B4-BE49-F238E27FC236}">
                  <a16:creationId xmlns:a16="http://schemas.microsoft.com/office/drawing/2014/main" id="{0D1ECB08-8892-4071-B5E7-BD09A8966E49}"/>
                </a:ext>
              </a:extLst>
            </p:cNvPr>
            <p:cNvSpPr>
              <a:spLocks/>
            </p:cNvSpPr>
            <p:nvPr/>
          </p:nvSpPr>
          <p:spPr bwMode="auto">
            <a:xfrm>
              <a:off x="4292601" y="6521450"/>
              <a:ext cx="14288" cy="19050"/>
            </a:xfrm>
            <a:custGeom>
              <a:avLst/>
              <a:gdLst>
                <a:gd name="T0" fmla="*/ 0 w 71"/>
                <a:gd name="T1" fmla="*/ 15 h 99"/>
                <a:gd name="T2" fmla="*/ 41 w 71"/>
                <a:gd name="T3" fmla="*/ 99 h 99"/>
                <a:gd name="T4" fmla="*/ 71 w 71"/>
                <a:gd name="T5" fmla="*/ 84 h 99"/>
                <a:gd name="T6" fmla="*/ 30 w 71"/>
                <a:gd name="T7" fmla="*/ 0 h 99"/>
              </a:gdLst>
              <a:ahLst/>
              <a:cxnLst>
                <a:cxn ang="0">
                  <a:pos x="T0" y="T1"/>
                </a:cxn>
                <a:cxn ang="0">
                  <a:pos x="T2" y="T3"/>
                </a:cxn>
                <a:cxn ang="0">
                  <a:pos x="T4" y="T5"/>
                </a:cxn>
                <a:cxn ang="0">
                  <a:pos x="T6" y="T7"/>
                </a:cxn>
              </a:cxnLst>
              <a:rect l="0" t="0" r="r" b="b"/>
              <a:pathLst>
                <a:path w="71" h="99">
                  <a:moveTo>
                    <a:pt x="0" y="15"/>
                  </a:moveTo>
                  <a:lnTo>
                    <a:pt x="41" y="99"/>
                  </a:lnTo>
                  <a:lnTo>
                    <a:pt x="71"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6" name="Freeform 201">
              <a:extLst>
                <a:ext uri="{FF2B5EF4-FFF2-40B4-BE49-F238E27FC236}">
                  <a16:creationId xmlns:a16="http://schemas.microsoft.com/office/drawing/2014/main" id="{8C7AACD0-405D-4E2A-A6BC-826F89C46B7A}"/>
                </a:ext>
              </a:extLst>
            </p:cNvPr>
            <p:cNvSpPr>
              <a:spLocks/>
            </p:cNvSpPr>
            <p:nvPr/>
          </p:nvSpPr>
          <p:spPr bwMode="auto">
            <a:xfrm>
              <a:off x="4332288" y="6521450"/>
              <a:ext cx="14288" cy="19050"/>
            </a:xfrm>
            <a:custGeom>
              <a:avLst/>
              <a:gdLst>
                <a:gd name="T0" fmla="*/ 42 w 72"/>
                <a:gd name="T1" fmla="*/ 0 h 99"/>
                <a:gd name="T2" fmla="*/ 0 w 72"/>
                <a:gd name="T3" fmla="*/ 84 h 99"/>
                <a:gd name="T4" fmla="*/ 30 w 72"/>
                <a:gd name="T5" fmla="*/ 99 h 99"/>
                <a:gd name="T6" fmla="*/ 72 w 72"/>
                <a:gd name="T7" fmla="*/ 14 h 99"/>
              </a:gdLst>
              <a:ahLst/>
              <a:cxnLst>
                <a:cxn ang="0">
                  <a:pos x="T0" y="T1"/>
                </a:cxn>
                <a:cxn ang="0">
                  <a:pos x="T2" y="T3"/>
                </a:cxn>
                <a:cxn ang="0">
                  <a:pos x="T4" y="T5"/>
                </a:cxn>
                <a:cxn ang="0">
                  <a:pos x="T6" y="T7"/>
                </a:cxn>
              </a:cxnLst>
              <a:rect l="0" t="0" r="r" b="b"/>
              <a:pathLst>
                <a:path w="72" h="99">
                  <a:moveTo>
                    <a:pt x="42" y="0"/>
                  </a:moveTo>
                  <a:lnTo>
                    <a:pt x="0" y="84"/>
                  </a:lnTo>
                  <a:lnTo>
                    <a:pt x="30" y="99"/>
                  </a:lnTo>
                  <a:lnTo>
                    <a:pt x="72" y="14"/>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7" name="Freeform 202">
              <a:extLst>
                <a:ext uri="{FF2B5EF4-FFF2-40B4-BE49-F238E27FC236}">
                  <a16:creationId xmlns:a16="http://schemas.microsoft.com/office/drawing/2014/main" id="{A0CC9434-D7AB-45C3-9990-51B50676C041}"/>
                </a:ext>
              </a:extLst>
            </p:cNvPr>
            <p:cNvSpPr>
              <a:spLocks/>
            </p:cNvSpPr>
            <p:nvPr/>
          </p:nvSpPr>
          <p:spPr bwMode="auto">
            <a:xfrm>
              <a:off x="4316413" y="6562725"/>
              <a:ext cx="79375" cy="33338"/>
            </a:xfrm>
            <a:custGeom>
              <a:avLst/>
              <a:gdLst>
                <a:gd name="T0" fmla="*/ 48 w 50"/>
                <a:gd name="T1" fmla="*/ 19 h 21"/>
                <a:gd name="T2" fmla="*/ 48 w 50"/>
                <a:gd name="T3" fmla="*/ 17 h 21"/>
                <a:gd name="T4" fmla="*/ 4 w 50"/>
                <a:gd name="T5" fmla="*/ 17 h 21"/>
                <a:gd name="T6" fmla="*/ 4 w 50"/>
                <a:gd name="T7" fmla="*/ 4 h 21"/>
                <a:gd name="T8" fmla="*/ 46 w 50"/>
                <a:gd name="T9" fmla="*/ 4 h 21"/>
                <a:gd name="T10" fmla="*/ 46 w 50"/>
                <a:gd name="T11" fmla="*/ 19 h 21"/>
                <a:gd name="T12" fmla="*/ 48 w 50"/>
                <a:gd name="T13" fmla="*/ 19 h 21"/>
                <a:gd name="T14" fmla="*/ 48 w 50"/>
                <a:gd name="T15" fmla="*/ 17 h 21"/>
                <a:gd name="T16" fmla="*/ 48 w 50"/>
                <a:gd name="T17" fmla="*/ 19 h 21"/>
                <a:gd name="T18" fmla="*/ 50 w 50"/>
                <a:gd name="T19" fmla="*/ 19 h 21"/>
                <a:gd name="T20" fmla="*/ 50 w 50"/>
                <a:gd name="T21" fmla="*/ 0 h 21"/>
                <a:gd name="T22" fmla="*/ 0 w 50"/>
                <a:gd name="T23" fmla="*/ 0 h 21"/>
                <a:gd name="T24" fmla="*/ 0 w 50"/>
                <a:gd name="T25" fmla="*/ 21 h 21"/>
                <a:gd name="T26" fmla="*/ 50 w 50"/>
                <a:gd name="T27" fmla="*/ 21 h 21"/>
                <a:gd name="T28" fmla="*/ 50 w 50"/>
                <a:gd name="T29" fmla="*/ 19 h 21"/>
                <a:gd name="T30" fmla="*/ 48 w 50"/>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21">
                  <a:moveTo>
                    <a:pt x="48" y="19"/>
                  </a:moveTo>
                  <a:lnTo>
                    <a:pt x="48" y="17"/>
                  </a:lnTo>
                  <a:lnTo>
                    <a:pt x="4" y="17"/>
                  </a:lnTo>
                  <a:lnTo>
                    <a:pt x="4" y="4"/>
                  </a:lnTo>
                  <a:lnTo>
                    <a:pt x="46" y="4"/>
                  </a:lnTo>
                  <a:lnTo>
                    <a:pt x="46" y="19"/>
                  </a:lnTo>
                  <a:lnTo>
                    <a:pt x="48" y="19"/>
                  </a:lnTo>
                  <a:lnTo>
                    <a:pt x="48" y="17"/>
                  </a:lnTo>
                  <a:lnTo>
                    <a:pt x="48" y="19"/>
                  </a:lnTo>
                  <a:lnTo>
                    <a:pt x="50" y="19"/>
                  </a:lnTo>
                  <a:lnTo>
                    <a:pt x="50" y="0"/>
                  </a:lnTo>
                  <a:lnTo>
                    <a:pt x="0" y="0"/>
                  </a:lnTo>
                  <a:lnTo>
                    <a:pt x="0" y="21"/>
                  </a:lnTo>
                  <a:lnTo>
                    <a:pt x="50" y="21"/>
                  </a:lnTo>
                  <a:lnTo>
                    <a:pt x="50" y="19"/>
                  </a:lnTo>
                  <a:lnTo>
                    <a:pt x="48" y="19"/>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8" name="Freeform 203">
              <a:extLst>
                <a:ext uri="{FF2B5EF4-FFF2-40B4-BE49-F238E27FC236}">
                  <a16:creationId xmlns:a16="http://schemas.microsoft.com/office/drawing/2014/main" id="{FBC6FCE6-FE69-49B8-A912-9315F3D2C936}"/>
                </a:ext>
              </a:extLst>
            </p:cNvPr>
            <p:cNvSpPr>
              <a:spLocks/>
            </p:cNvSpPr>
            <p:nvPr/>
          </p:nvSpPr>
          <p:spPr bwMode="auto">
            <a:xfrm>
              <a:off x="4422776" y="6551613"/>
              <a:ext cx="50800" cy="44450"/>
            </a:xfrm>
            <a:custGeom>
              <a:avLst/>
              <a:gdLst>
                <a:gd name="T0" fmla="*/ 30 w 32"/>
                <a:gd name="T1" fmla="*/ 26 h 28"/>
                <a:gd name="T2" fmla="*/ 30 w 32"/>
                <a:gd name="T3" fmla="*/ 24 h 28"/>
                <a:gd name="T4" fmla="*/ 4 w 32"/>
                <a:gd name="T5" fmla="*/ 24 h 28"/>
                <a:gd name="T6" fmla="*/ 4 w 32"/>
                <a:gd name="T7" fmla="*/ 5 h 28"/>
                <a:gd name="T8" fmla="*/ 28 w 32"/>
                <a:gd name="T9" fmla="*/ 5 h 28"/>
                <a:gd name="T10" fmla="*/ 28 w 32"/>
                <a:gd name="T11" fmla="*/ 26 h 28"/>
                <a:gd name="T12" fmla="*/ 30 w 32"/>
                <a:gd name="T13" fmla="*/ 26 h 28"/>
                <a:gd name="T14" fmla="*/ 30 w 32"/>
                <a:gd name="T15" fmla="*/ 24 h 28"/>
                <a:gd name="T16" fmla="*/ 30 w 32"/>
                <a:gd name="T17" fmla="*/ 26 h 28"/>
                <a:gd name="T18" fmla="*/ 32 w 32"/>
                <a:gd name="T19" fmla="*/ 26 h 28"/>
                <a:gd name="T20" fmla="*/ 32 w 32"/>
                <a:gd name="T21" fmla="*/ 0 h 28"/>
                <a:gd name="T22" fmla="*/ 0 w 32"/>
                <a:gd name="T23" fmla="*/ 0 h 28"/>
                <a:gd name="T24" fmla="*/ 0 w 32"/>
                <a:gd name="T25" fmla="*/ 28 h 28"/>
                <a:gd name="T26" fmla="*/ 32 w 32"/>
                <a:gd name="T27" fmla="*/ 28 h 28"/>
                <a:gd name="T28" fmla="*/ 32 w 32"/>
                <a:gd name="T29" fmla="*/ 26 h 28"/>
                <a:gd name="T30" fmla="*/ 30 w 32"/>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8">
                  <a:moveTo>
                    <a:pt x="30" y="26"/>
                  </a:moveTo>
                  <a:lnTo>
                    <a:pt x="30" y="24"/>
                  </a:lnTo>
                  <a:lnTo>
                    <a:pt x="4" y="24"/>
                  </a:lnTo>
                  <a:lnTo>
                    <a:pt x="4" y="5"/>
                  </a:lnTo>
                  <a:lnTo>
                    <a:pt x="28" y="5"/>
                  </a:lnTo>
                  <a:lnTo>
                    <a:pt x="28" y="26"/>
                  </a:lnTo>
                  <a:lnTo>
                    <a:pt x="30" y="26"/>
                  </a:lnTo>
                  <a:lnTo>
                    <a:pt x="30" y="24"/>
                  </a:lnTo>
                  <a:lnTo>
                    <a:pt x="30" y="26"/>
                  </a:lnTo>
                  <a:lnTo>
                    <a:pt x="32" y="26"/>
                  </a:lnTo>
                  <a:lnTo>
                    <a:pt x="32" y="0"/>
                  </a:lnTo>
                  <a:lnTo>
                    <a:pt x="0" y="0"/>
                  </a:lnTo>
                  <a:lnTo>
                    <a:pt x="0" y="28"/>
                  </a:lnTo>
                  <a:lnTo>
                    <a:pt x="32" y="28"/>
                  </a:lnTo>
                  <a:lnTo>
                    <a:pt x="32" y="26"/>
                  </a:lnTo>
                  <a:lnTo>
                    <a:pt x="30" y="2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9" name="Freeform 204">
              <a:extLst>
                <a:ext uri="{FF2B5EF4-FFF2-40B4-BE49-F238E27FC236}">
                  <a16:creationId xmlns:a16="http://schemas.microsoft.com/office/drawing/2014/main" id="{61EA00F1-A42B-42A6-8C4B-6B6B8CB5D2D8}"/>
                </a:ext>
              </a:extLst>
            </p:cNvPr>
            <p:cNvSpPr>
              <a:spLocks/>
            </p:cNvSpPr>
            <p:nvPr/>
          </p:nvSpPr>
          <p:spPr bwMode="auto">
            <a:xfrm>
              <a:off x="4292601" y="6627813"/>
              <a:ext cx="55563" cy="74613"/>
            </a:xfrm>
            <a:custGeom>
              <a:avLst/>
              <a:gdLst>
                <a:gd name="T0" fmla="*/ 0 w 35"/>
                <a:gd name="T1" fmla="*/ 0 h 47"/>
                <a:gd name="T2" fmla="*/ 0 w 35"/>
                <a:gd name="T3" fmla="*/ 47 h 47"/>
                <a:gd name="T4" fmla="*/ 35 w 35"/>
                <a:gd name="T5" fmla="*/ 47 h 47"/>
                <a:gd name="T6" fmla="*/ 35 w 35"/>
                <a:gd name="T7" fmla="*/ 0 h 47"/>
                <a:gd name="T8" fmla="*/ 30 w 35"/>
                <a:gd name="T9" fmla="*/ 0 h 47"/>
                <a:gd name="T10" fmla="*/ 30 w 35"/>
                <a:gd name="T11" fmla="*/ 43 h 47"/>
                <a:gd name="T12" fmla="*/ 4 w 35"/>
                <a:gd name="T13" fmla="*/ 43 h 47"/>
                <a:gd name="T14" fmla="*/ 4 w 35"/>
                <a:gd name="T15" fmla="*/ 0 h 47"/>
                <a:gd name="T16" fmla="*/ 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0" y="0"/>
                  </a:moveTo>
                  <a:lnTo>
                    <a:pt x="0" y="47"/>
                  </a:lnTo>
                  <a:lnTo>
                    <a:pt x="35" y="47"/>
                  </a:lnTo>
                  <a:lnTo>
                    <a:pt x="35" y="0"/>
                  </a:lnTo>
                  <a:lnTo>
                    <a:pt x="30" y="0"/>
                  </a:lnTo>
                  <a:lnTo>
                    <a:pt x="30" y="43"/>
                  </a:lnTo>
                  <a:lnTo>
                    <a:pt x="4" y="43"/>
                  </a:lnTo>
                  <a:lnTo>
                    <a:pt x="4" y="0"/>
                  </a:lnTo>
                  <a:lnTo>
                    <a:pt x="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0" name="Freeform 206">
              <a:extLst>
                <a:ext uri="{FF2B5EF4-FFF2-40B4-BE49-F238E27FC236}">
                  <a16:creationId xmlns:a16="http://schemas.microsoft.com/office/drawing/2014/main" id="{DEAF0182-BD77-4AE7-A32E-00BEE5D20477}"/>
                </a:ext>
              </a:extLst>
            </p:cNvPr>
            <p:cNvSpPr>
              <a:spLocks/>
            </p:cNvSpPr>
            <p:nvPr/>
          </p:nvSpPr>
          <p:spPr bwMode="auto">
            <a:xfrm>
              <a:off x="4281488" y="6640513"/>
              <a:ext cx="41275" cy="84138"/>
            </a:xfrm>
            <a:custGeom>
              <a:avLst/>
              <a:gdLst>
                <a:gd name="T0" fmla="*/ 61 w 204"/>
                <a:gd name="T1" fmla="*/ 268 h 406"/>
                <a:gd name="T2" fmla="*/ 30 w 204"/>
                <a:gd name="T3" fmla="*/ 297 h 406"/>
                <a:gd name="T4" fmla="*/ 1 w 204"/>
                <a:gd name="T5" fmla="*/ 389 h 406"/>
                <a:gd name="T6" fmla="*/ 1 w 204"/>
                <a:gd name="T7" fmla="*/ 406 h 406"/>
                <a:gd name="T8" fmla="*/ 204 w 204"/>
                <a:gd name="T9" fmla="*/ 406 h 406"/>
                <a:gd name="T10" fmla="*/ 204 w 204"/>
                <a:gd name="T11" fmla="*/ 282 h 406"/>
                <a:gd name="T12" fmla="*/ 204 w 204"/>
                <a:gd name="T13" fmla="*/ 0 h 406"/>
                <a:gd name="T14" fmla="*/ 171 w 204"/>
                <a:gd name="T15" fmla="*/ 0 h 406"/>
                <a:gd name="T16" fmla="*/ 171 w 204"/>
                <a:gd name="T17" fmla="*/ 282 h 406"/>
                <a:gd name="T18" fmla="*/ 171 w 204"/>
                <a:gd name="T19" fmla="*/ 373 h 406"/>
                <a:gd name="T20" fmla="*/ 17 w 204"/>
                <a:gd name="T21" fmla="*/ 373 h 406"/>
                <a:gd name="T22" fmla="*/ 17 w 204"/>
                <a:gd name="T23" fmla="*/ 389 h 406"/>
                <a:gd name="T24" fmla="*/ 34 w 204"/>
                <a:gd name="T25" fmla="*/ 389 h 406"/>
                <a:gd name="T26" fmla="*/ 57 w 204"/>
                <a:gd name="T27" fmla="*/ 317 h 406"/>
                <a:gd name="T28" fmla="*/ 72 w 204"/>
                <a:gd name="T29" fmla="*/ 301 h 406"/>
                <a:gd name="T30" fmla="*/ 77 w 204"/>
                <a:gd name="T31" fmla="*/ 297 h 406"/>
                <a:gd name="T32" fmla="*/ 78 w 204"/>
                <a:gd name="T33" fmla="*/ 296 h 406"/>
                <a:gd name="T34" fmla="*/ 78 w 204"/>
                <a:gd name="T35" fmla="*/ 296 h 406"/>
                <a:gd name="T36" fmla="*/ 75 w 204"/>
                <a:gd name="T37" fmla="*/ 291 h 406"/>
                <a:gd name="T38" fmla="*/ 78 w 204"/>
                <a:gd name="T39" fmla="*/ 296 h 406"/>
                <a:gd name="T40" fmla="*/ 78 w 204"/>
                <a:gd name="T41" fmla="*/ 296 h 406"/>
                <a:gd name="T42" fmla="*/ 75 w 204"/>
                <a:gd name="T43" fmla="*/ 291 h 406"/>
                <a:gd name="T44" fmla="*/ 78 w 204"/>
                <a:gd name="T45" fmla="*/ 296 h 406"/>
                <a:gd name="T46" fmla="*/ 61 w 204"/>
                <a:gd name="T47" fmla="*/ 26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406">
                  <a:moveTo>
                    <a:pt x="61" y="268"/>
                  </a:moveTo>
                  <a:cubicBezTo>
                    <a:pt x="60" y="269"/>
                    <a:pt x="45" y="277"/>
                    <a:pt x="30" y="297"/>
                  </a:cubicBezTo>
                  <a:cubicBezTo>
                    <a:pt x="15" y="317"/>
                    <a:pt x="0" y="347"/>
                    <a:pt x="1" y="389"/>
                  </a:cubicBezTo>
                  <a:lnTo>
                    <a:pt x="1" y="406"/>
                  </a:lnTo>
                  <a:lnTo>
                    <a:pt x="204" y="406"/>
                  </a:lnTo>
                  <a:lnTo>
                    <a:pt x="204" y="282"/>
                  </a:lnTo>
                  <a:lnTo>
                    <a:pt x="204" y="0"/>
                  </a:lnTo>
                  <a:lnTo>
                    <a:pt x="171" y="0"/>
                  </a:lnTo>
                  <a:lnTo>
                    <a:pt x="171" y="282"/>
                  </a:lnTo>
                  <a:lnTo>
                    <a:pt x="171" y="373"/>
                  </a:lnTo>
                  <a:lnTo>
                    <a:pt x="17" y="373"/>
                  </a:lnTo>
                  <a:lnTo>
                    <a:pt x="17" y="389"/>
                  </a:lnTo>
                  <a:lnTo>
                    <a:pt x="34" y="389"/>
                  </a:lnTo>
                  <a:cubicBezTo>
                    <a:pt x="34" y="355"/>
                    <a:pt x="45" y="332"/>
                    <a:pt x="57" y="317"/>
                  </a:cubicBezTo>
                  <a:cubicBezTo>
                    <a:pt x="62" y="310"/>
                    <a:pt x="68" y="304"/>
                    <a:pt x="72" y="301"/>
                  </a:cubicBezTo>
                  <a:cubicBezTo>
                    <a:pt x="74" y="299"/>
                    <a:pt x="76" y="298"/>
                    <a:pt x="77" y="297"/>
                  </a:cubicBezTo>
                  <a:lnTo>
                    <a:pt x="78" y="296"/>
                  </a:lnTo>
                  <a:lnTo>
                    <a:pt x="78" y="296"/>
                  </a:lnTo>
                  <a:lnTo>
                    <a:pt x="75" y="291"/>
                  </a:lnTo>
                  <a:lnTo>
                    <a:pt x="78" y="296"/>
                  </a:lnTo>
                  <a:lnTo>
                    <a:pt x="78" y="296"/>
                  </a:lnTo>
                  <a:lnTo>
                    <a:pt x="75" y="291"/>
                  </a:lnTo>
                  <a:lnTo>
                    <a:pt x="78" y="296"/>
                  </a:lnTo>
                  <a:lnTo>
                    <a:pt x="61" y="26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1" name="Freeform 207">
              <a:extLst>
                <a:ext uri="{FF2B5EF4-FFF2-40B4-BE49-F238E27FC236}">
                  <a16:creationId xmlns:a16="http://schemas.microsoft.com/office/drawing/2014/main" id="{1AECB8A5-F7F4-49A5-9301-A36A156DCD4D}"/>
                </a:ext>
              </a:extLst>
            </p:cNvPr>
            <p:cNvSpPr>
              <a:spLocks/>
            </p:cNvSpPr>
            <p:nvPr/>
          </p:nvSpPr>
          <p:spPr bwMode="auto">
            <a:xfrm>
              <a:off x="4316413" y="6696076"/>
              <a:ext cx="41275" cy="28575"/>
            </a:xfrm>
            <a:custGeom>
              <a:avLst/>
              <a:gdLst>
                <a:gd name="T0" fmla="*/ 125 w 203"/>
                <a:gd name="T1" fmla="*/ 28 h 138"/>
                <a:gd name="T2" fmla="*/ 129 w 203"/>
                <a:gd name="T3" fmla="*/ 23 h 138"/>
                <a:gd name="T4" fmla="*/ 125 w 203"/>
                <a:gd name="T5" fmla="*/ 28 h 138"/>
                <a:gd name="T6" fmla="*/ 125 w 203"/>
                <a:gd name="T7" fmla="*/ 28 h 138"/>
                <a:gd name="T8" fmla="*/ 129 w 203"/>
                <a:gd name="T9" fmla="*/ 23 h 138"/>
                <a:gd name="T10" fmla="*/ 125 w 203"/>
                <a:gd name="T11" fmla="*/ 28 h 138"/>
                <a:gd name="T12" fmla="*/ 148 w 203"/>
                <a:gd name="T13" fmla="*/ 51 h 138"/>
                <a:gd name="T14" fmla="*/ 170 w 203"/>
                <a:gd name="T15" fmla="*/ 121 h 138"/>
                <a:gd name="T16" fmla="*/ 186 w 203"/>
                <a:gd name="T17" fmla="*/ 121 h 138"/>
                <a:gd name="T18" fmla="*/ 186 w 203"/>
                <a:gd name="T19" fmla="*/ 105 h 138"/>
                <a:gd name="T20" fmla="*/ 33 w 203"/>
                <a:gd name="T21" fmla="*/ 105 h 138"/>
                <a:gd name="T22" fmla="*/ 33 w 203"/>
                <a:gd name="T23" fmla="*/ 14 h 138"/>
                <a:gd name="T24" fmla="*/ 0 w 203"/>
                <a:gd name="T25" fmla="*/ 14 h 138"/>
                <a:gd name="T26" fmla="*/ 0 w 203"/>
                <a:gd name="T27" fmla="*/ 138 h 138"/>
                <a:gd name="T28" fmla="*/ 203 w 203"/>
                <a:gd name="T29" fmla="*/ 138 h 138"/>
                <a:gd name="T30" fmla="*/ 203 w 203"/>
                <a:gd name="T31" fmla="*/ 121 h 138"/>
                <a:gd name="T32" fmla="*/ 173 w 203"/>
                <a:gd name="T33" fmla="*/ 29 h 138"/>
                <a:gd name="T34" fmla="*/ 142 w 203"/>
                <a:gd name="T35" fmla="*/ 0 h 138"/>
                <a:gd name="T36" fmla="*/ 125 w 203"/>
                <a:gd name="T3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3" h="138">
                  <a:moveTo>
                    <a:pt x="125" y="28"/>
                  </a:moveTo>
                  <a:lnTo>
                    <a:pt x="129" y="23"/>
                  </a:lnTo>
                  <a:lnTo>
                    <a:pt x="125" y="28"/>
                  </a:lnTo>
                  <a:lnTo>
                    <a:pt x="125" y="28"/>
                  </a:lnTo>
                  <a:lnTo>
                    <a:pt x="129" y="23"/>
                  </a:lnTo>
                  <a:lnTo>
                    <a:pt x="125" y="28"/>
                  </a:lnTo>
                  <a:cubicBezTo>
                    <a:pt x="126" y="28"/>
                    <a:pt x="137" y="36"/>
                    <a:pt x="148" y="51"/>
                  </a:cubicBezTo>
                  <a:cubicBezTo>
                    <a:pt x="159" y="66"/>
                    <a:pt x="170" y="88"/>
                    <a:pt x="170" y="121"/>
                  </a:cubicBezTo>
                  <a:lnTo>
                    <a:pt x="186" y="121"/>
                  </a:lnTo>
                  <a:lnTo>
                    <a:pt x="186" y="105"/>
                  </a:lnTo>
                  <a:lnTo>
                    <a:pt x="33" y="105"/>
                  </a:lnTo>
                  <a:lnTo>
                    <a:pt x="33" y="14"/>
                  </a:lnTo>
                  <a:lnTo>
                    <a:pt x="0" y="14"/>
                  </a:lnTo>
                  <a:lnTo>
                    <a:pt x="0" y="138"/>
                  </a:lnTo>
                  <a:lnTo>
                    <a:pt x="203" y="138"/>
                  </a:lnTo>
                  <a:lnTo>
                    <a:pt x="203" y="121"/>
                  </a:lnTo>
                  <a:cubicBezTo>
                    <a:pt x="203" y="79"/>
                    <a:pt x="188" y="49"/>
                    <a:pt x="173" y="29"/>
                  </a:cubicBezTo>
                  <a:cubicBezTo>
                    <a:pt x="159" y="9"/>
                    <a:pt x="144" y="1"/>
                    <a:pt x="142" y="0"/>
                  </a:cubicBezTo>
                  <a:lnTo>
                    <a:pt x="125" y="28"/>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2" name="Freeform 208">
              <a:extLst>
                <a:ext uri="{FF2B5EF4-FFF2-40B4-BE49-F238E27FC236}">
                  <a16:creationId xmlns:a16="http://schemas.microsoft.com/office/drawing/2014/main" id="{A9F48797-759A-46AF-8A05-E2FF0662A6C8}"/>
                </a:ext>
              </a:extLst>
            </p:cNvPr>
            <p:cNvSpPr>
              <a:spLocks/>
            </p:cNvSpPr>
            <p:nvPr/>
          </p:nvSpPr>
          <p:spPr bwMode="auto">
            <a:xfrm>
              <a:off x="4384676" y="6494463"/>
              <a:ext cx="112713" cy="77788"/>
            </a:xfrm>
            <a:custGeom>
              <a:avLst/>
              <a:gdLst>
                <a:gd name="T0" fmla="*/ 33 w 550"/>
                <a:gd name="T1" fmla="*/ 347 h 375"/>
                <a:gd name="T2" fmla="*/ 33 w 550"/>
                <a:gd name="T3" fmla="*/ 263 h 375"/>
                <a:gd name="T4" fmla="*/ 77 w 550"/>
                <a:gd name="T5" fmla="*/ 182 h 375"/>
                <a:gd name="T6" fmla="*/ 77 w 550"/>
                <a:gd name="T7" fmla="*/ 182 h 375"/>
                <a:gd name="T8" fmla="*/ 141 w 550"/>
                <a:gd name="T9" fmla="*/ 140 h 375"/>
                <a:gd name="T10" fmla="*/ 190 w 550"/>
                <a:gd name="T11" fmla="*/ 50 h 375"/>
                <a:gd name="T12" fmla="*/ 190 w 550"/>
                <a:gd name="T13" fmla="*/ 45 h 375"/>
                <a:gd name="T14" fmla="*/ 173 w 550"/>
                <a:gd name="T15" fmla="*/ 45 h 375"/>
                <a:gd name="T16" fmla="*/ 160 w 550"/>
                <a:gd name="T17" fmla="*/ 56 h 375"/>
                <a:gd name="T18" fmla="*/ 243 w 550"/>
                <a:gd name="T19" fmla="*/ 97 h 375"/>
                <a:gd name="T20" fmla="*/ 325 w 550"/>
                <a:gd name="T21" fmla="*/ 56 h 375"/>
                <a:gd name="T22" fmla="*/ 312 w 550"/>
                <a:gd name="T23" fmla="*/ 45 h 375"/>
                <a:gd name="T24" fmla="*/ 296 w 550"/>
                <a:gd name="T25" fmla="*/ 45 h 375"/>
                <a:gd name="T26" fmla="*/ 296 w 550"/>
                <a:gd name="T27" fmla="*/ 50 h 375"/>
                <a:gd name="T28" fmla="*/ 344 w 550"/>
                <a:gd name="T29" fmla="*/ 140 h 375"/>
                <a:gd name="T30" fmla="*/ 408 w 550"/>
                <a:gd name="T31" fmla="*/ 182 h 375"/>
                <a:gd name="T32" fmla="*/ 409 w 550"/>
                <a:gd name="T33" fmla="*/ 182 h 375"/>
                <a:gd name="T34" fmla="*/ 410 w 550"/>
                <a:gd name="T35" fmla="*/ 183 h 375"/>
                <a:gd name="T36" fmla="*/ 469 w 550"/>
                <a:gd name="T37" fmla="*/ 227 h 375"/>
                <a:gd name="T38" fmla="*/ 503 w 550"/>
                <a:gd name="T39" fmla="*/ 264 h 375"/>
                <a:gd name="T40" fmla="*/ 516 w 550"/>
                <a:gd name="T41" fmla="*/ 298 h 375"/>
                <a:gd name="T42" fmla="*/ 515 w 550"/>
                <a:gd name="T43" fmla="*/ 307 h 375"/>
                <a:gd name="T44" fmla="*/ 515 w 550"/>
                <a:gd name="T45" fmla="*/ 306 h 375"/>
                <a:gd name="T46" fmla="*/ 498 w 550"/>
                <a:gd name="T47" fmla="*/ 335 h 375"/>
                <a:gd name="T48" fmla="*/ 477 w 550"/>
                <a:gd name="T49" fmla="*/ 342 h 375"/>
                <a:gd name="T50" fmla="*/ 446 w 550"/>
                <a:gd name="T51" fmla="*/ 334 h 375"/>
                <a:gd name="T52" fmla="*/ 435 w 550"/>
                <a:gd name="T53" fmla="*/ 328 h 375"/>
                <a:gd name="T54" fmla="*/ 432 w 550"/>
                <a:gd name="T55" fmla="*/ 326 h 375"/>
                <a:gd name="T56" fmla="*/ 431 w 550"/>
                <a:gd name="T57" fmla="*/ 326 h 375"/>
                <a:gd name="T58" fmla="*/ 431 w 550"/>
                <a:gd name="T59" fmla="*/ 326 h 375"/>
                <a:gd name="T60" fmla="*/ 428 w 550"/>
                <a:gd name="T61" fmla="*/ 330 h 375"/>
                <a:gd name="T62" fmla="*/ 431 w 550"/>
                <a:gd name="T63" fmla="*/ 326 h 375"/>
                <a:gd name="T64" fmla="*/ 431 w 550"/>
                <a:gd name="T65" fmla="*/ 326 h 375"/>
                <a:gd name="T66" fmla="*/ 428 w 550"/>
                <a:gd name="T67" fmla="*/ 330 h 375"/>
                <a:gd name="T68" fmla="*/ 431 w 550"/>
                <a:gd name="T69" fmla="*/ 326 h 375"/>
                <a:gd name="T70" fmla="*/ 412 w 550"/>
                <a:gd name="T71" fmla="*/ 353 h 375"/>
                <a:gd name="T72" fmla="*/ 432 w 550"/>
                <a:gd name="T73" fmla="*/ 364 h 375"/>
                <a:gd name="T74" fmla="*/ 477 w 550"/>
                <a:gd name="T75" fmla="*/ 375 h 375"/>
                <a:gd name="T76" fmla="*/ 518 w 550"/>
                <a:gd name="T77" fmla="*/ 362 h 375"/>
                <a:gd name="T78" fmla="*/ 547 w 550"/>
                <a:gd name="T79" fmla="*/ 316 h 375"/>
                <a:gd name="T80" fmla="*/ 547 w 550"/>
                <a:gd name="T81" fmla="*/ 316 h 375"/>
                <a:gd name="T82" fmla="*/ 550 w 550"/>
                <a:gd name="T83" fmla="*/ 298 h 375"/>
                <a:gd name="T84" fmla="*/ 528 w 550"/>
                <a:gd name="T85" fmla="*/ 242 h 375"/>
                <a:gd name="T86" fmla="*/ 464 w 550"/>
                <a:gd name="T87" fmla="*/ 179 h 375"/>
                <a:gd name="T88" fmla="*/ 426 w 550"/>
                <a:gd name="T89" fmla="*/ 153 h 375"/>
                <a:gd name="T90" fmla="*/ 417 w 550"/>
                <a:gd name="T91" fmla="*/ 168 h 375"/>
                <a:gd name="T92" fmla="*/ 426 w 550"/>
                <a:gd name="T93" fmla="*/ 154 h 375"/>
                <a:gd name="T94" fmla="*/ 362 w 550"/>
                <a:gd name="T95" fmla="*/ 112 h 375"/>
                <a:gd name="T96" fmla="*/ 329 w 550"/>
                <a:gd name="T97" fmla="*/ 50 h 375"/>
                <a:gd name="T98" fmla="*/ 329 w 550"/>
                <a:gd name="T99" fmla="*/ 45 h 375"/>
                <a:gd name="T100" fmla="*/ 329 w 550"/>
                <a:gd name="T101" fmla="*/ 0 h 375"/>
                <a:gd name="T102" fmla="*/ 300 w 550"/>
                <a:gd name="T103" fmla="*/ 34 h 375"/>
                <a:gd name="T104" fmla="*/ 243 w 550"/>
                <a:gd name="T105" fmla="*/ 63 h 375"/>
                <a:gd name="T106" fmla="*/ 186 w 550"/>
                <a:gd name="T107" fmla="*/ 34 h 375"/>
                <a:gd name="T108" fmla="*/ 156 w 550"/>
                <a:gd name="T109" fmla="*/ 0 h 375"/>
                <a:gd name="T110" fmla="*/ 156 w 550"/>
                <a:gd name="T111" fmla="*/ 50 h 375"/>
                <a:gd name="T112" fmla="*/ 123 w 550"/>
                <a:gd name="T113" fmla="*/ 112 h 375"/>
                <a:gd name="T114" fmla="*/ 59 w 550"/>
                <a:gd name="T115" fmla="*/ 154 h 375"/>
                <a:gd name="T116" fmla="*/ 59 w 550"/>
                <a:gd name="T117" fmla="*/ 154 h 375"/>
                <a:gd name="T118" fmla="*/ 0 w 550"/>
                <a:gd name="T119" fmla="*/ 263 h 375"/>
                <a:gd name="T120" fmla="*/ 0 w 550"/>
                <a:gd name="T121" fmla="*/ 347 h 375"/>
                <a:gd name="T122" fmla="*/ 33 w 550"/>
                <a:gd name="T123" fmla="*/ 34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0" h="375">
                  <a:moveTo>
                    <a:pt x="33" y="347"/>
                  </a:moveTo>
                  <a:lnTo>
                    <a:pt x="33" y="263"/>
                  </a:lnTo>
                  <a:cubicBezTo>
                    <a:pt x="33" y="230"/>
                    <a:pt x="50" y="200"/>
                    <a:pt x="77" y="182"/>
                  </a:cubicBezTo>
                  <a:lnTo>
                    <a:pt x="77" y="182"/>
                  </a:lnTo>
                  <a:lnTo>
                    <a:pt x="141" y="140"/>
                  </a:lnTo>
                  <a:cubicBezTo>
                    <a:pt x="172" y="120"/>
                    <a:pt x="190" y="86"/>
                    <a:pt x="190" y="50"/>
                  </a:cubicBezTo>
                  <a:lnTo>
                    <a:pt x="190" y="45"/>
                  </a:lnTo>
                  <a:lnTo>
                    <a:pt x="173" y="45"/>
                  </a:lnTo>
                  <a:lnTo>
                    <a:pt x="160" y="56"/>
                  </a:lnTo>
                  <a:cubicBezTo>
                    <a:pt x="181" y="81"/>
                    <a:pt x="210" y="97"/>
                    <a:pt x="243" y="97"/>
                  </a:cubicBezTo>
                  <a:cubicBezTo>
                    <a:pt x="275" y="97"/>
                    <a:pt x="304" y="81"/>
                    <a:pt x="325" y="56"/>
                  </a:cubicBezTo>
                  <a:lnTo>
                    <a:pt x="312" y="45"/>
                  </a:lnTo>
                  <a:lnTo>
                    <a:pt x="296" y="45"/>
                  </a:lnTo>
                  <a:lnTo>
                    <a:pt x="296" y="50"/>
                  </a:lnTo>
                  <a:cubicBezTo>
                    <a:pt x="296" y="86"/>
                    <a:pt x="314" y="120"/>
                    <a:pt x="344" y="140"/>
                  </a:cubicBezTo>
                  <a:lnTo>
                    <a:pt x="408" y="182"/>
                  </a:lnTo>
                  <a:lnTo>
                    <a:pt x="409" y="182"/>
                  </a:lnTo>
                  <a:lnTo>
                    <a:pt x="410" y="183"/>
                  </a:lnTo>
                  <a:cubicBezTo>
                    <a:pt x="416" y="187"/>
                    <a:pt x="444" y="204"/>
                    <a:pt x="469" y="227"/>
                  </a:cubicBezTo>
                  <a:cubicBezTo>
                    <a:pt x="482" y="238"/>
                    <a:pt x="494" y="251"/>
                    <a:pt x="503" y="264"/>
                  </a:cubicBezTo>
                  <a:cubicBezTo>
                    <a:pt x="512" y="276"/>
                    <a:pt x="516" y="288"/>
                    <a:pt x="516" y="298"/>
                  </a:cubicBezTo>
                  <a:cubicBezTo>
                    <a:pt x="516" y="301"/>
                    <a:pt x="516" y="303"/>
                    <a:pt x="515" y="307"/>
                  </a:cubicBezTo>
                  <a:lnTo>
                    <a:pt x="515" y="306"/>
                  </a:lnTo>
                  <a:cubicBezTo>
                    <a:pt x="510" y="322"/>
                    <a:pt x="504" y="331"/>
                    <a:pt x="498" y="335"/>
                  </a:cubicBezTo>
                  <a:cubicBezTo>
                    <a:pt x="492" y="340"/>
                    <a:pt x="485" y="342"/>
                    <a:pt x="477" y="342"/>
                  </a:cubicBezTo>
                  <a:cubicBezTo>
                    <a:pt x="467" y="342"/>
                    <a:pt x="455" y="338"/>
                    <a:pt x="446" y="334"/>
                  </a:cubicBezTo>
                  <a:cubicBezTo>
                    <a:pt x="441" y="332"/>
                    <a:pt x="437" y="330"/>
                    <a:pt x="435" y="328"/>
                  </a:cubicBezTo>
                  <a:lnTo>
                    <a:pt x="432" y="326"/>
                  </a:lnTo>
                  <a:lnTo>
                    <a:pt x="431" y="326"/>
                  </a:lnTo>
                  <a:lnTo>
                    <a:pt x="431" y="326"/>
                  </a:lnTo>
                  <a:lnTo>
                    <a:pt x="428" y="330"/>
                  </a:lnTo>
                  <a:lnTo>
                    <a:pt x="431" y="326"/>
                  </a:lnTo>
                  <a:lnTo>
                    <a:pt x="431" y="326"/>
                  </a:lnTo>
                  <a:lnTo>
                    <a:pt x="428" y="330"/>
                  </a:lnTo>
                  <a:lnTo>
                    <a:pt x="431" y="326"/>
                  </a:lnTo>
                  <a:lnTo>
                    <a:pt x="412" y="353"/>
                  </a:lnTo>
                  <a:cubicBezTo>
                    <a:pt x="412" y="353"/>
                    <a:pt x="420" y="359"/>
                    <a:pt x="432" y="364"/>
                  </a:cubicBezTo>
                  <a:cubicBezTo>
                    <a:pt x="443" y="369"/>
                    <a:pt x="459" y="375"/>
                    <a:pt x="477" y="375"/>
                  </a:cubicBezTo>
                  <a:cubicBezTo>
                    <a:pt x="490" y="375"/>
                    <a:pt x="505" y="372"/>
                    <a:pt x="518" y="362"/>
                  </a:cubicBezTo>
                  <a:cubicBezTo>
                    <a:pt x="531" y="352"/>
                    <a:pt x="541" y="337"/>
                    <a:pt x="547" y="316"/>
                  </a:cubicBezTo>
                  <a:lnTo>
                    <a:pt x="547" y="316"/>
                  </a:lnTo>
                  <a:cubicBezTo>
                    <a:pt x="549" y="310"/>
                    <a:pt x="550" y="304"/>
                    <a:pt x="550" y="298"/>
                  </a:cubicBezTo>
                  <a:cubicBezTo>
                    <a:pt x="549" y="277"/>
                    <a:pt x="540" y="258"/>
                    <a:pt x="528" y="242"/>
                  </a:cubicBezTo>
                  <a:cubicBezTo>
                    <a:pt x="510" y="217"/>
                    <a:pt x="485" y="195"/>
                    <a:pt x="464" y="179"/>
                  </a:cubicBezTo>
                  <a:cubicBezTo>
                    <a:pt x="443" y="164"/>
                    <a:pt x="426" y="154"/>
                    <a:pt x="426" y="153"/>
                  </a:cubicBezTo>
                  <a:lnTo>
                    <a:pt x="417" y="168"/>
                  </a:lnTo>
                  <a:lnTo>
                    <a:pt x="426" y="154"/>
                  </a:lnTo>
                  <a:lnTo>
                    <a:pt x="362" y="112"/>
                  </a:lnTo>
                  <a:cubicBezTo>
                    <a:pt x="342" y="98"/>
                    <a:pt x="329" y="75"/>
                    <a:pt x="329" y="50"/>
                  </a:cubicBezTo>
                  <a:lnTo>
                    <a:pt x="329" y="45"/>
                  </a:lnTo>
                  <a:lnTo>
                    <a:pt x="329" y="0"/>
                  </a:lnTo>
                  <a:lnTo>
                    <a:pt x="300" y="34"/>
                  </a:lnTo>
                  <a:cubicBezTo>
                    <a:pt x="283" y="53"/>
                    <a:pt x="264" y="63"/>
                    <a:pt x="243" y="63"/>
                  </a:cubicBezTo>
                  <a:cubicBezTo>
                    <a:pt x="222" y="63"/>
                    <a:pt x="202" y="53"/>
                    <a:pt x="186" y="34"/>
                  </a:cubicBezTo>
                  <a:lnTo>
                    <a:pt x="156" y="0"/>
                  </a:lnTo>
                  <a:lnTo>
                    <a:pt x="156" y="50"/>
                  </a:lnTo>
                  <a:cubicBezTo>
                    <a:pt x="156" y="75"/>
                    <a:pt x="144" y="98"/>
                    <a:pt x="123" y="112"/>
                  </a:cubicBezTo>
                  <a:lnTo>
                    <a:pt x="59" y="154"/>
                  </a:lnTo>
                  <a:lnTo>
                    <a:pt x="59" y="154"/>
                  </a:lnTo>
                  <a:cubicBezTo>
                    <a:pt x="22" y="178"/>
                    <a:pt x="0" y="219"/>
                    <a:pt x="0" y="263"/>
                  </a:cubicBezTo>
                  <a:lnTo>
                    <a:pt x="0" y="347"/>
                  </a:lnTo>
                  <a:lnTo>
                    <a:pt x="33" y="34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3" name="Freeform 209">
              <a:extLst>
                <a:ext uri="{FF2B5EF4-FFF2-40B4-BE49-F238E27FC236}">
                  <a16:creationId xmlns:a16="http://schemas.microsoft.com/office/drawing/2014/main" id="{7BBB99EB-63A1-4C32-B8D5-DBA5D9A091E2}"/>
                </a:ext>
              </a:extLst>
            </p:cNvPr>
            <p:cNvSpPr>
              <a:spLocks/>
            </p:cNvSpPr>
            <p:nvPr/>
          </p:nvSpPr>
          <p:spPr bwMode="auto">
            <a:xfrm>
              <a:off x="4387851" y="6589713"/>
              <a:ext cx="92075" cy="6350"/>
            </a:xfrm>
            <a:custGeom>
              <a:avLst/>
              <a:gdLst>
                <a:gd name="T0" fmla="*/ 0 w 451"/>
                <a:gd name="T1" fmla="*/ 33 h 35"/>
                <a:gd name="T2" fmla="*/ 451 w 451"/>
                <a:gd name="T3" fmla="*/ 35 h 35"/>
                <a:gd name="T4" fmla="*/ 451 w 451"/>
                <a:gd name="T5" fmla="*/ 1 h 35"/>
                <a:gd name="T6" fmla="*/ 0 w 451"/>
                <a:gd name="T7" fmla="*/ 0 h 35"/>
              </a:gdLst>
              <a:ahLst/>
              <a:cxnLst>
                <a:cxn ang="0">
                  <a:pos x="T0" y="T1"/>
                </a:cxn>
                <a:cxn ang="0">
                  <a:pos x="T2" y="T3"/>
                </a:cxn>
                <a:cxn ang="0">
                  <a:pos x="T4" y="T5"/>
                </a:cxn>
                <a:cxn ang="0">
                  <a:pos x="T6" y="T7"/>
                </a:cxn>
              </a:cxnLst>
              <a:rect l="0" t="0" r="r" b="b"/>
              <a:pathLst>
                <a:path w="451" h="35">
                  <a:moveTo>
                    <a:pt x="0" y="33"/>
                  </a:moveTo>
                  <a:lnTo>
                    <a:pt x="451" y="35"/>
                  </a:lnTo>
                  <a:lnTo>
                    <a:pt x="451" y="1"/>
                  </a:lnTo>
                  <a:lnTo>
                    <a:pt x="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4" name="Freeform 210">
              <a:extLst>
                <a:ext uri="{FF2B5EF4-FFF2-40B4-BE49-F238E27FC236}">
                  <a16:creationId xmlns:a16="http://schemas.microsoft.com/office/drawing/2014/main" id="{CB448C3F-9BD7-413E-A5E3-8D04F7AE9F76}"/>
                </a:ext>
              </a:extLst>
            </p:cNvPr>
            <p:cNvSpPr>
              <a:spLocks/>
            </p:cNvSpPr>
            <p:nvPr/>
          </p:nvSpPr>
          <p:spPr bwMode="auto">
            <a:xfrm>
              <a:off x="4408488" y="6477001"/>
              <a:ext cx="50800" cy="38100"/>
            </a:xfrm>
            <a:custGeom>
              <a:avLst/>
              <a:gdLst>
                <a:gd name="T0" fmla="*/ 17 w 248"/>
                <a:gd name="T1" fmla="*/ 17 h 180"/>
                <a:gd name="T2" fmla="*/ 0 w 248"/>
                <a:gd name="T3" fmla="*/ 17 h 180"/>
                <a:gd name="T4" fmla="*/ 41 w 248"/>
                <a:gd name="T5" fmla="*/ 139 h 180"/>
                <a:gd name="T6" fmla="*/ 41 w 248"/>
                <a:gd name="T7" fmla="*/ 139 h 180"/>
                <a:gd name="T8" fmla="*/ 124 w 248"/>
                <a:gd name="T9" fmla="*/ 180 h 180"/>
                <a:gd name="T10" fmla="*/ 206 w 248"/>
                <a:gd name="T11" fmla="*/ 139 h 180"/>
                <a:gd name="T12" fmla="*/ 206 w 248"/>
                <a:gd name="T13" fmla="*/ 139 h 180"/>
                <a:gd name="T14" fmla="*/ 248 w 248"/>
                <a:gd name="T15" fmla="*/ 17 h 180"/>
                <a:gd name="T16" fmla="*/ 248 w 248"/>
                <a:gd name="T17" fmla="*/ 0 h 180"/>
                <a:gd name="T18" fmla="*/ 0 w 248"/>
                <a:gd name="T19" fmla="*/ 0 h 180"/>
                <a:gd name="T20" fmla="*/ 0 w 248"/>
                <a:gd name="T21" fmla="*/ 17 h 180"/>
                <a:gd name="T22" fmla="*/ 17 w 248"/>
                <a:gd name="T23" fmla="*/ 17 h 180"/>
                <a:gd name="T24" fmla="*/ 17 w 248"/>
                <a:gd name="T25" fmla="*/ 33 h 180"/>
                <a:gd name="T26" fmla="*/ 231 w 248"/>
                <a:gd name="T27" fmla="*/ 33 h 180"/>
                <a:gd name="T28" fmla="*/ 231 w 248"/>
                <a:gd name="T29" fmla="*/ 17 h 180"/>
                <a:gd name="T30" fmla="*/ 214 w 248"/>
                <a:gd name="T31" fmla="*/ 17 h 180"/>
                <a:gd name="T32" fmla="*/ 181 w 248"/>
                <a:gd name="T33" fmla="*/ 117 h 180"/>
                <a:gd name="T34" fmla="*/ 181 w 248"/>
                <a:gd name="T35" fmla="*/ 117 h 180"/>
                <a:gd name="T36" fmla="*/ 124 w 248"/>
                <a:gd name="T37" fmla="*/ 146 h 180"/>
                <a:gd name="T38" fmla="*/ 67 w 248"/>
                <a:gd name="T39" fmla="*/ 117 h 180"/>
                <a:gd name="T40" fmla="*/ 67 w 248"/>
                <a:gd name="T41" fmla="*/ 117 h 180"/>
                <a:gd name="T42" fmla="*/ 33 w 248"/>
                <a:gd name="T43" fmla="*/ 17 h 180"/>
                <a:gd name="T44" fmla="*/ 17 w 248"/>
                <a:gd name="T45" fmla="*/ 17 h 180"/>
                <a:gd name="T46" fmla="*/ 17 w 248"/>
                <a:gd name="T47" fmla="*/ 33 h 180"/>
                <a:gd name="T48" fmla="*/ 17 w 248"/>
                <a:gd name="T49"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8" h="180">
                  <a:moveTo>
                    <a:pt x="17" y="17"/>
                  </a:moveTo>
                  <a:lnTo>
                    <a:pt x="0" y="17"/>
                  </a:lnTo>
                  <a:cubicBezTo>
                    <a:pt x="0" y="65"/>
                    <a:pt x="15" y="108"/>
                    <a:pt x="41" y="139"/>
                  </a:cubicBezTo>
                  <a:lnTo>
                    <a:pt x="41" y="139"/>
                  </a:lnTo>
                  <a:cubicBezTo>
                    <a:pt x="62" y="164"/>
                    <a:pt x="91" y="180"/>
                    <a:pt x="124" y="180"/>
                  </a:cubicBezTo>
                  <a:cubicBezTo>
                    <a:pt x="156" y="180"/>
                    <a:pt x="185" y="164"/>
                    <a:pt x="206" y="139"/>
                  </a:cubicBezTo>
                  <a:lnTo>
                    <a:pt x="206" y="139"/>
                  </a:lnTo>
                  <a:cubicBezTo>
                    <a:pt x="232" y="109"/>
                    <a:pt x="248" y="65"/>
                    <a:pt x="248" y="17"/>
                  </a:cubicBezTo>
                  <a:lnTo>
                    <a:pt x="248" y="0"/>
                  </a:lnTo>
                  <a:lnTo>
                    <a:pt x="0" y="0"/>
                  </a:lnTo>
                  <a:lnTo>
                    <a:pt x="0" y="17"/>
                  </a:lnTo>
                  <a:lnTo>
                    <a:pt x="17" y="17"/>
                  </a:lnTo>
                  <a:lnTo>
                    <a:pt x="17" y="33"/>
                  </a:lnTo>
                  <a:lnTo>
                    <a:pt x="231" y="33"/>
                  </a:lnTo>
                  <a:lnTo>
                    <a:pt x="231" y="17"/>
                  </a:lnTo>
                  <a:lnTo>
                    <a:pt x="214" y="17"/>
                  </a:lnTo>
                  <a:cubicBezTo>
                    <a:pt x="214" y="58"/>
                    <a:pt x="201" y="94"/>
                    <a:pt x="181" y="117"/>
                  </a:cubicBezTo>
                  <a:lnTo>
                    <a:pt x="181" y="117"/>
                  </a:lnTo>
                  <a:cubicBezTo>
                    <a:pt x="164" y="136"/>
                    <a:pt x="145" y="146"/>
                    <a:pt x="124" y="146"/>
                  </a:cubicBezTo>
                  <a:cubicBezTo>
                    <a:pt x="103" y="146"/>
                    <a:pt x="83" y="136"/>
                    <a:pt x="67" y="117"/>
                  </a:cubicBezTo>
                  <a:lnTo>
                    <a:pt x="67" y="117"/>
                  </a:lnTo>
                  <a:cubicBezTo>
                    <a:pt x="47" y="94"/>
                    <a:pt x="33" y="58"/>
                    <a:pt x="33" y="17"/>
                  </a:cubicBezTo>
                  <a:lnTo>
                    <a:pt x="17" y="17"/>
                  </a:lnTo>
                  <a:lnTo>
                    <a:pt x="17" y="33"/>
                  </a:lnTo>
                  <a:lnTo>
                    <a:pt x="17"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5" name="Freeform 211">
              <a:extLst>
                <a:ext uri="{FF2B5EF4-FFF2-40B4-BE49-F238E27FC236}">
                  <a16:creationId xmlns:a16="http://schemas.microsoft.com/office/drawing/2014/main" id="{030F99DC-7E49-4AF6-A3F4-4C7D15A45A01}"/>
                </a:ext>
              </a:extLst>
            </p:cNvPr>
            <p:cNvSpPr>
              <a:spLocks/>
            </p:cNvSpPr>
            <p:nvPr/>
          </p:nvSpPr>
          <p:spPr bwMode="auto">
            <a:xfrm>
              <a:off x="4398963" y="6440488"/>
              <a:ext cx="69850" cy="44450"/>
            </a:xfrm>
            <a:custGeom>
              <a:avLst/>
              <a:gdLst>
                <a:gd name="T0" fmla="*/ 16 w 342"/>
                <a:gd name="T1" fmla="*/ 196 h 213"/>
                <a:gd name="T2" fmla="*/ 16 w 342"/>
                <a:gd name="T3" fmla="*/ 212 h 213"/>
                <a:gd name="T4" fmla="*/ 342 w 342"/>
                <a:gd name="T5" fmla="*/ 213 h 213"/>
                <a:gd name="T6" fmla="*/ 342 w 342"/>
                <a:gd name="T7" fmla="*/ 196 h 213"/>
                <a:gd name="T8" fmla="*/ 293 w 342"/>
                <a:gd name="T9" fmla="*/ 58 h 213"/>
                <a:gd name="T10" fmla="*/ 171 w 342"/>
                <a:gd name="T11" fmla="*/ 0 h 213"/>
                <a:gd name="T12" fmla="*/ 49 w 342"/>
                <a:gd name="T13" fmla="*/ 58 h 213"/>
                <a:gd name="T14" fmla="*/ 0 w 342"/>
                <a:gd name="T15" fmla="*/ 196 h 213"/>
                <a:gd name="T16" fmla="*/ 0 w 342"/>
                <a:gd name="T17" fmla="*/ 212 h 213"/>
                <a:gd name="T18" fmla="*/ 16 w 342"/>
                <a:gd name="T19" fmla="*/ 212 h 213"/>
                <a:gd name="T20" fmla="*/ 16 w 342"/>
                <a:gd name="T21" fmla="*/ 196 h 213"/>
                <a:gd name="T22" fmla="*/ 33 w 342"/>
                <a:gd name="T23" fmla="*/ 196 h 213"/>
                <a:gd name="T24" fmla="*/ 74 w 342"/>
                <a:gd name="T25" fmla="*/ 80 h 213"/>
                <a:gd name="T26" fmla="*/ 171 w 342"/>
                <a:gd name="T27" fmla="*/ 34 h 213"/>
                <a:gd name="T28" fmla="*/ 268 w 342"/>
                <a:gd name="T29" fmla="*/ 80 h 213"/>
                <a:gd name="T30" fmla="*/ 309 w 342"/>
                <a:gd name="T31" fmla="*/ 196 h 213"/>
                <a:gd name="T32" fmla="*/ 326 w 342"/>
                <a:gd name="T33" fmla="*/ 196 h 213"/>
                <a:gd name="T34" fmla="*/ 326 w 342"/>
                <a:gd name="T35" fmla="*/ 179 h 213"/>
                <a:gd name="T36" fmla="*/ 16 w 342"/>
                <a:gd name="T37" fmla="*/ 179 h 213"/>
                <a:gd name="T38" fmla="*/ 16 w 342"/>
                <a:gd name="T39" fmla="*/ 196 h 213"/>
                <a:gd name="T40" fmla="*/ 33 w 342"/>
                <a:gd name="T41" fmla="*/ 196 h 213"/>
                <a:gd name="T42" fmla="*/ 16 w 342"/>
                <a:gd name="T43"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2" h="213">
                  <a:moveTo>
                    <a:pt x="16" y="196"/>
                  </a:moveTo>
                  <a:lnTo>
                    <a:pt x="16" y="212"/>
                  </a:lnTo>
                  <a:lnTo>
                    <a:pt x="342" y="213"/>
                  </a:lnTo>
                  <a:lnTo>
                    <a:pt x="342" y="196"/>
                  </a:lnTo>
                  <a:cubicBezTo>
                    <a:pt x="342" y="143"/>
                    <a:pt x="324" y="94"/>
                    <a:pt x="293" y="58"/>
                  </a:cubicBezTo>
                  <a:cubicBezTo>
                    <a:pt x="262" y="23"/>
                    <a:pt x="219" y="0"/>
                    <a:pt x="171" y="0"/>
                  </a:cubicBezTo>
                  <a:cubicBezTo>
                    <a:pt x="123" y="0"/>
                    <a:pt x="80" y="23"/>
                    <a:pt x="49" y="58"/>
                  </a:cubicBezTo>
                  <a:cubicBezTo>
                    <a:pt x="18" y="94"/>
                    <a:pt x="0" y="142"/>
                    <a:pt x="0" y="196"/>
                  </a:cubicBezTo>
                  <a:lnTo>
                    <a:pt x="0" y="212"/>
                  </a:lnTo>
                  <a:lnTo>
                    <a:pt x="16" y="212"/>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16" y="179"/>
                  </a:lnTo>
                  <a:lnTo>
                    <a:pt x="16" y="196"/>
                  </a:lnTo>
                  <a:lnTo>
                    <a:pt x="33" y="196"/>
                  </a:lnTo>
                  <a:lnTo>
                    <a:pt x="16" y="196"/>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6" name="Freeform 212">
              <a:extLst>
                <a:ext uri="{FF2B5EF4-FFF2-40B4-BE49-F238E27FC236}">
                  <a16:creationId xmlns:a16="http://schemas.microsoft.com/office/drawing/2014/main" id="{6CBF2A8F-A3E1-4651-8B23-3AA476FAB743}"/>
                </a:ext>
              </a:extLst>
            </p:cNvPr>
            <p:cNvSpPr>
              <a:spLocks/>
            </p:cNvSpPr>
            <p:nvPr/>
          </p:nvSpPr>
          <p:spPr bwMode="auto">
            <a:xfrm>
              <a:off x="44307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7" name="Freeform 213">
              <a:extLst>
                <a:ext uri="{FF2B5EF4-FFF2-40B4-BE49-F238E27FC236}">
                  <a16:creationId xmlns:a16="http://schemas.microsoft.com/office/drawing/2014/main" id="{AE063A5B-B539-4D8A-9401-C69C784801F3}"/>
                </a:ext>
              </a:extLst>
            </p:cNvPr>
            <p:cNvSpPr>
              <a:spLocks/>
            </p:cNvSpPr>
            <p:nvPr/>
          </p:nvSpPr>
          <p:spPr bwMode="auto">
            <a:xfrm>
              <a:off x="4406901" y="6535738"/>
              <a:ext cx="50800" cy="57150"/>
            </a:xfrm>
            <a:custGeom>
              <a:avLst/>
              <a:gdLst>
                <a:gd name="T0" fmla="*/ 251 w 251"/>
                <a:gd name="T1" fmla="*/ 28 h 279"/>
                <a:gd name="T2" fmla="*/ 202 w 251"/>
                <a:gd name="T3" fmla="*/ 0 h 279"/>
                <a:gd name="T4" fmla="*/ 67 w 251"/>
                <a:gd name="T5" fmla="*/ 0 h 279"/>
                <a:gd name="T6" fmla="*/ 11 w 251"/>
                <a:gd name="T7" fmla="*/ 56 h 279"/>
                <a:gd name="T8" fmla="*/ 27 w 251"/>
                <a:gd name="T9" fmla="*/ 56 h 279"/>
                <a:gd name="T10" fmla="*/ 11 w 251"/>
                <a:gd name="T11" fmla="*/ 55 h 279"/>
                <a:gd name="T12" fmla="*/ 0 w 251"/>
                <a:gd name="T13" fmla="*/ 278 h 279"/>
                <a:gd name="T14" fmla="*/ 34 w 251"/>
                <a:gd name="T15" fmla="*/ 279 h 279"/>
                <a:gd name="T16" fmla="*/ 44 w 251"/>
                <a:gd name="T17" fmla="*/ 57 h 279"/>
                <a:gd name="T18" fmla="*/ 44 w 251"/>
                <a:gd name="T19" fmla="*/ 56 h 279"/>
                <a:gd name="T20" fmla="*/ 67 w 251"/>
                <a:gd name="T21" fmla="*/ 33 h 279"/>
                <a:gd name="T22" fmla="*/ 202 w 251"/>
                <a:gd name="T23" fmla="*/ 33 h 279"/>
                <a:gd name="T24" fmla="*/ 222 w 251"/>
                <a:gd name="T25" fmla="*/ 45 h 279"/>
                <a:gd name="T26" fmla="*/ 251 w 251"/>
                <a:gd name="T27" fmla="*/ 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 h="279">
                  <a:moveTo>
                    <a:pt x="251" y="28"/>
                  </a:moveTo>
                  <a:cubicBezTo>
                    <a:pt x="242" y="12"/>
                    <a:pt x="223" y="0"/>
                    <a:pt x="202" y="0"/>
                  </a:cubicBezTo>
                  <a:lnTo>
                    <a:pt x="67" y="0"/>
                  </a:lnTo>
                  <a:cubicBezTo>
                    <a:pt x="36" y="0"/>
                    <a:pt x="11" y="25"/>
                    <a:pt x="11" y="56"/>
                  </a:cubicBezTo>
                  <a:lnTo>
                    <a:pt x="27" y="56"/>
                  </a:lnTo>
                  <a:lnTo>
                    <a:pt x="11" y="55"/>
                  </a:lnTo>
                  <a:lnTo>
                    <a:pt x="0" y="278"/>
                  </a:lnTo>
                  <a:lnTo>
                    <a:pt x="34" y="279"/>
                  </a:lnTo>
                  <a:lnTo>
                    <a:pt x="44" y="57"/>
                  </a:lnTo>
                  <a:lnTo>
                    <a:pt x="44" y="56"/>
                  </a:lnTo>
                  <a:cubicBezTo>
                    <a:pt x="44" y="43"/>
                    <a:pt x="54" y="33"/>
                    <a:pt x="67" y="33"/>
                  </a:cubicBezTo>
                  <a:lnTo>
                    <a:pt x="202" y="33"/>
                  </a:lnTo>
                  <a:cubicBezTo>
                    <a:pt x="211" y="33"/>
                    <a:pt x="218" y="38"/>
                    <a:pt x="222" y="45"/>
                  </a:cubicBezTo>
                  <a:lnTo>
                    <a:pt x="251" y="28"/>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8" name="Freeform 214">
              <a:extLst>
                <a:ext uri="{FF2B5EF4-FFF2-40B4-BE49-F238E27FC236}">
                  <a16:creationId xmlns:a16="http://schemas.microsoft.com/office/drawing/2014/main" id="{B27D5856-69BE-46C9-BE93-55AC5B8BA044}"/>
                </a:ext>
              </a:extLst>
            </p:cNvPr>
            <p:cNvSpPr>
              <a:spLocks/>
            </p:cNvSpPr>
            <p:nvPr/>
          </p:nvSpPr>
          <p:spPr bwMode="auto">
            <a:xfrm>
              <a:off x="4446588" y="6521451"/>
              <a:ext cx="14288" cy="19050"/>
            </a:xfrm>
            <a:custGeom>
              <a:avLst/>
              <a:gdLst>
                <a:gd name="T0" fmla="*/ 41 w 71"/>
                <a:gd name="T1" fmla="*/ 0 h 99"/>
                <a:gd name="T2" fmla="*/ 0 w 71"/>
                <a:gd name="T3" fmla="*/ 84 h 99"/>
                <a:gd name="T4" fmla="*/ 29 w 71"/>
                <a:gd name="T5" fmla="*/ 99 h 99"/>
                <a:gd name="T6" fmla="*/ 71 w 71"/>
                <a:gd name="T7" fmla="*/ 15 h 99"/>
              </a:gdLst>
              <a:ahLst/>
              <a:cxnLst>
                <a:cxn ang="0">
                  <a:pos x="T0" y="T1"/>
                </a:cxn>
                <a:cxn ang="0">
                  <a:pos x="T2" y="T3"/>
                </a:cxn>
                <a:cxn ang="0">
                  <a:pos x="T4" y="T5"/>
                </a:cxn>
                <a:cxn ang="0">
                  <a:pos x="T6" y="T7"/>
                </a:cxn>
              </a:cxnLst>
              <a:rect l="0" t="0" r="r" b="b"/>
              <a:pathLst>
                <a:path w="71" h="99">
                  <a:moveTo>
                    <a:pt x="41" y="0"/>
                  </a:moveTo>
                  <a:lnTo>
                    <a:pt x="0" y="84"/>
                  </a:lnTo>
                  <a:lnTo>
                    <a:pt x="29" y="99"/>
                  </a:lnTo>
                  <a:lnTo>
                    <a:pt x="71" y="1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9" name="Freeform 215">
              <a:extLst>
                <a:ext uri="{FF2B5EF4-FFF2-40B4-BE49-F238E27FC236}">
                  <a16:creationId xmlns:a16="http://schemas.microsoft.com/office/drawing/2014/main" id="{51BD5C31-6060-4918-9264-544C57D969DD}"/>
                </a:ext>
              </a:extLst>
            </p:cNvPr>
            <p:cNvSpPr>
              <a:spLocks/>
            </p:cNvSpPr>
            <p:nvPr/>
          </p:nvSpPr>
          <p:spPr bwMode="auto">
            <a:xfrm>
              <a:off x="4406901" y="6521451"/>
              <a:ext cx="14288" cy="19050"/>
            </a:xfrm>
            <a:custGeom>
              <a:avLst/>
              <a:gdLst>
                <a:gd name="T0" fmla="*/ 0 w 72"/>
                <a:gd name="T1" fmla="*/ 14 h 99"/>
                <a:gd name="T2" fmla="*/ 42 w 72"/>
                <a:gd name="T3" fmla="*/ 99 h 99"/>
                <a:gd name="T4" fmla="*/ 72 w 72"/>
                <a:gd name="T5" fmla="*/ 84 h 99"/>
                <a:gd name="T6" fmla="*/ 30 w 72"/>
                <a:gd name="T7" fmla="*/ 0 h 99"/>
              </a:gdLst>
              <a:ahLst/>
              <a:cxnLst>
                <a:cxn ang="0">
                  <a:pos x="T0" y="T1"/>
                </a:cxn>
                <a:cxn ang="0">
                  <a:pos x="T2" y="T3"/>
                </a:cxn>
                <a:cxn ang="0">
                  <a:pos x="T4" y="T5"/>
                </a:cxn>
                <a:cxn ang="0">
                  <a:pos x="T6" y="T7"/>
                </a:cxn>
              </a:cxnLst>
              <a:rect l="0" t="0" r="r" b="b"/>
              <a:pathLst>
                <a:path w="72" h="99">
                  <a:moveTo>
                    <a:pt x="0" y="14"/>
                  </a:moveTo>
                  <a:lnTo>
                    <a:pt x="42" y="99"/>
                  </a:lnTo>
                  <a:lnTo>
                    <a:pt x="72" y="84"/>
                  </a:lnTo>
                  <a:lnTo>
                    <a:pt x="30" y="0"/>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0" name="Freeform 216">
              <a:extLst>
                <a:ext uri="{FF2B5EF4-FFF2-40B4-BE49-F238E27FC236}">
                  <a16:creationId xmlns:a16="http://schemas.microsoft.com/office/drawing/2014/main" id="{BD819E60-3196-4346-A6D1-12CF90D894A4}"/>
                </a:ext>
              </a:extLst>
            </p:cNvPr>
            <p:cNvSpPr>
              <a:spLocks/>
            </p:cNvSpPr>
            <p:nvPr/>
          </p:nvSpPr>
          <p:spPr bwMode="auto">
            <a:xfrm>
              <a:off x="4406901" y="6627813"/>
              <a:ext cx="55563" cy="74613"/>
            </a:xfrm>
            <a:custGeom>
              <a:avLst/>
              <a:gdLst>
                <a:gd name="T0" fmla="*/ 30 w 35"/>
                <a:gd name="T1" fmla="*/ 0 h 47"/>
                <a:gd name="T2" fmla="*/ 30 w 35"/>
                <a:gd name="T3" fmla="*/ 43 h 47"/>
                <a:gd name="T4" fmla="*/ 4 w 35"/>
                <a:gd name="T5" fmla="*/ 43 h 47"/>
                <a:gd name="T6" fmla="*/ 4 w 35"/>
                <a:gd name="T7" fmla="*/ 0 h 47"/>
                <a:gd name="T8" fmla="*/ 0 w 35"/>
                <a:gd name="T9" fmla="*/ 0 h 47"/>
                <a:gd name="T10" fmla="*/ 0 w 35"/>
                <a:gd name="T11" fmla="*/ 47 h 47"/>
                <a:gd name="T12" fmla="*/ 35 w 35"/>
                <a:gd name="T13" fmla="*/ 47 h 47"/>
                <a:gd name="T14" fmla="*/ 35 w 35"/>
                <a:gd name="T15" fmla="*/ 0 h 47"/>
                <a:gd name="T16" fmla="*/ 3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30" y="0"/>
                  </a:moveTo>
                  <a:lnTo>
                    <a:pt x="30" y="43"/>
                  </a:lnTo>
                  <a:lnTo>
                    <a:pt x="4" y="43"/>
                  </a:lnTo>
                  <a:lnTo>
                    <a:pt x="4" y="0"/>
                  </a:lnTo>
                  <a:lnTo>
                    <a:pt x="0" y="0"/>
                  </a:lnTo>
                  <a:lnTo>
                    <a:pt x="0" y="47"/>
                  </a:lnTo>
                  <a:lnTo>
                    <a:pt x="35" y="47"/>
                  </a:lnTo>
                  <a:lnTo>
                    <a:pt x="35" y="0"/>
                  </a:lnTo>
                  <a:lnTo>
                    <a:pt x="3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1" name="Freeform 217">
              <a:extLst>
                <a:ext uri="{FF2B5EF4-FFF2-40B4-BE49-F238E27FC236}">
                  <a16:creationId xmlns:a16="http://schemas.microsoft.com/office/drawing/2014/main" id="{5E7B7132-BF3E-4A17-90DD-3987A5F3791B}"/>
                </a:ext>
              </a:extLst>
            </p:cNvPr>
            <p:cNvSpPr>
              <a:spLocks/>
            </p:cNvSpPr>
            <p:nvPr/>
          </p:nvSpPr>
          <p:spPr bwMode="auto">
            <a:xfrm>
              <a:off x="4430713" y="6640513"/>
              <a:ext cx="41275" cy="84138"/>
            </a:xfrm>
            <a:custGeom>
              <a:avLst/>
              <a:gdLst>
                <a:gd name="T0" fmla="*/ 126 w 203"/>
                <a:gd name="T1" fmla="*/ 296 h 406"/>
                <a:gd name="T2" fmla="*/ 129 w 203"/>
                <a:gd name="T3" fmla="*/ 291 h 406"/>
                <a:gd name="T4" fmla="*/ 126 w 203"/>
                <a:gd name="T5" fmla="*/ 296 h 406"/>
                <a:gd name="T6" fmla="*/ 126 w 203"/>
                <a:gd name="T7" fmla="*/ 296 h 406"/>
                <a:gd name="T8" fmla="*/ 129 w 203"/>
                <a:gd name="T9" fmla="*/ 291 h 406"/>
                <a:gd name="T10" fmla="*/ 126 w 203"/>
                <a:gd name="T11" fmla="*/ 296 h 406"/>
                <a:gd name="T12" fmla="*/ 148 w 203"/>
                <a:gd name="T13" fmla="*/ 319 h 406"/>
                <a:gd name="T14" fmla="*/ 170 w 203"/>
                <a:gd name="T15" fmla="*/ 389 h 406"/>
                <a:gd name="T16" fmla="*/ 187 w 203"/>
                <a:gd name="T17" fmla="*/ 389 h 406"/>
                <a:gd name="T18" fmla="*/ 187 w 203"/>
                <a:gd name="T19" fmla="*/ 373 h 406"/>
                <a:gd name="T20" fmla="*/ 33 w 203"/>
                <a:gd name="T21" fmla="*/ 373 h 406"/>
                <a:gd name="T22" fmla="*/ 33 w 203"/>
                <a:gd name="T23" fmla="*/ 282 h 406"/>
                <a:gd name="T24" fmla="*/ 33 w 203"/>
                <a:gd name="T25" fmla="*/ 0 h 406"/>
                <a:gd name="T26" fmla="*/ 0 w 203"/>
                <a:gd name="T27" fmla="*/ 0 h 406"/>
                <a:gd name="T28" fmla="*/ 0 w 203"/>
                <a:gd name="T29" fmla="*/ 282 h 406"/>
                <a:gd name="T30" fmla="*/ 0 w 203"/>
                <a:gd name="T31" fmla="*/ 406 h 406"/>
                <a:gd name="T32" fmla="*/ 203 w 203"/>
                <a:gd name="T33" fmla="*/ 406 h 406"/>
                <a:gd name="T34" fmla="*/ 203 w 203"/>
                <a:gd name="T35" fmla="*/ 389 h 406"/>
                <a:gd name="T36" fmla="*/ 174 w 203"/>
                <a:gd name="T37" fmla="*/ 297 h 406"/>
                <a:gd name="T38" fmla="*/ 143 w 203"/>
                <a:gd name="T39" fmla="*/ 268 h 406"/>
                <a:gd name="T40" fmla="*/ 126 w 203"/>
                <a:gd name="T41" fmla="*/ 29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406">
                  <a:moveTo>
                    <a:pt x="126" y="296"/>
                  </a:moveTo>
                  <a:lnTo>
                    <a:pt x="129" y="291"/>
                  </a:lnTo>
                  <a:lnTo>
                    <a:pt x="126" y="296"/>
                  </a:lnTo>
                  <a:lnTo>
                    <a:pt x="126" y="296"/>
                  </a:lnTo>
                  <a:lnTo>
                    <a:pt x="129" y="291"/>
                  </a:lnTo>
                  <a:lnTo>
                    <a:pt x="126" y="296"/>
                  </a:lnTo>
                  <a:cubicBezTo>
                    <a:pt x="126" y="296"/>
                    <a:pt x="137" y="304"/>
                    <a:pt x="148" y="319"/>
                  </a:cubicBezTo>
                  <a:cubicBezTo>
                    <a:pt x="159" y="334"/>
                    <a:pt x="170" y="356"/>
                    <a:pt x="170" y="389"/>
                  </a:cubicBezTo>
                  <a:lnTo>
                    <a:pt x="187" y="389"/>
                  </a:lnTo>
                  <a:lnTo>
                    <a:pt x="187" y="373"/>
                  </a:lnTo>
                  <a:lnTo>
                    <a:pt x="33" y="373"/>
                  </a:lnTo>
                  <a:lnTo>
                    <a:pt x="33" y="282"/>
                  </a:lnTo>
                  <a:lnTo>
                    <a:pt x="33" y="0"/>
                  </a:lnTo>
                  <a:lnTo>
                    <a:pt x="0" y="0"/>
                  </a:lnTo>
                  <a:lnTo>
                    <a:pt x="0" y="282"/>
                  </a:lnTo>
                  <a:lnTo>
                    <a:pt x="0" y="406"/>
                  </a:lnTo>
                  <a:lnTo>
                    <a:pt x="203" y="406"/>
                  </a:lnTo>
                  <a:lnTo>
                    <a:pt x="203" y="389"/>
                  </a:lnTo>
                  <a:cubicBezTo>
                    <a:pt x="203" y="347"/>
                    <a:pt x="189" y="317"/>
                    <a:pt x="174" y="297"/>
                  </a:cubicBezTo>
                  <a:cubicBezTo>
                    <a:pt x="159" y="277"/>
                    <a:pt x="144" y="269"/>
                    <a:pt x="143" y="268"/>
                  </a:cubicBezTo>
                  <a:lnTo>
                    <a:pt x="126" y="296"/>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2" name="Freeform 218">
              <a:extLst>
                <a:ext uri="{FF2B5EF4-FFF2-40B4-BE49-F238E27FC236}">
                  <a16:creationId xmlns:a16="http://schemas.microsoft.com/office/drawing/2014/main" id="{AFE5D450-6DB6-4C20-BB3A-61A0EAA6A328}"/>
                </a:ext>
              </a:extLst>
            </p:cNvPr>
            <p:cNvSpPr>
              <a:spLocks/>
            </p:cNvSpPr>
            <p:nvPr/>
          </p:nvSpPr>
          <p:spPr bwMode="auto">
            <a:xfrm>
              <a:off x="4395788" y="6696076"/>
              <a:ext cx="41275" cy="28575"/>
            </a:xfrm>
            <a:custGeom>
              <a:avLst/>
              <a:gdLst>
                <a:gd name="T0" fmla="*/ 60 w 203"/>
                <a:gd name="T1" fmla="*/ 0 h 138"/>
                <a:gd name="T2" fmla="*/ 29 w 203"/>
                <a:gd name="T3" fmla="*/ 29 h 138"/>
                <a:gd name="T4" fmla="*/ 0 w 203"/>
                <a:gd name="T5" fmla="*/ 121 h 138"/>
                <a:gd name="T6" fmla="*/ 0 w 203"/>
                <a:gd name="T7" fmla="*/ 138 h 138"/>
                <a:gd name="T8" fmla="*/ 203 w 203"/>
                <a:gd name="T9" fmla="*/ 138 h 138"/>
                <a:gd name="T10" fmla="*/ 203 w 203"/>
                <a:gd name="T11" fmla="*/ 14 h 138"/>
                <a:gd name="T12" fmla="*/ 170 w 203"/>
                <a:gd name="T13" fmla="*/ 14 h 138"/>
                <a:gd name="T14" fmla="*/ 170 w 203"/>
                <a:gd name="T15" fmla="*/ 105 h 138"/>
                <a:gd name="T16" fmla="*/ 16 w 203"/>
                <a:gd name="T17" fmla="*/ 105 h 138"/>
                <a:gd name="T18" fmla="*/ 16 w 203"/>
                <a:gd name="T19" fmla="*/ 121 h 138"/>
                <a:gd name="T20" fmla="*/ 33 w 203"/>
                <a:gd name="T21" fmla="*/ 121 h 138"/>
                <a:gd name="T22" fmla="*/ 56 w 203"/>
                <a:gd name="T23" fmla="*/ 49 h 138"/>
                <a:gd name="T24" fmla="*/ 71 w 203"/>
                <a:gd name="T25" fmla="*/ 33 h 138"/>
                <a:gd name="T26" fmla="*/ 76 w 203"/>
                <a:gd name="T27" fmla="*/ 29 h 138"/>
                <a:gd name="T28" fmla="*/ 77 w 203"/>
                <a:gd name="T29" fmla="*/ 28 h 138"/>
                <a:gd name="T30" fmla="*/ 78 w 203"/>
                <a:gd name="T31" fmla="*/ 28 h 138"/>
                <a:gd name="T32" fmla="*/ 74 w 203"/>
                <a:gd name="T33" fmla="*/ 23 h 138"/>
                <a:gd name="T34" fmla="*/ 78 w 203"/>
                <a:gd name="T35" fmla="*/ 28 h 138"/>
                <a:gd name="T36" fmla="*/ 78 w 203"/>
                <a:gd name="T37" fmla="*/ 28 h 138"/>
                <a:gd name="T38" fmla="*/ 74 w 203"/>
                <a:gd name="T39" fmla="*/ 23 h 138"/>
                <a:gd name="T40" fmla="*/ 78 w 203"/>
                <a:gd name="T41" fmla="*/ 28 h 138"/>
                <a:gd name="T42" fmla="*/ 60 w 203"/>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38">
                  <a:moveTo>
                    <a:pt x="60" y="0"/>
                  </a:moveTo>
                  <a:cubicBezTo>
                    <a:pt x="59" y="1"/>
                    <a:pt x="44" y="9"/>
                    <a:pt x="29" y="29"/>
                  </a:cubicBezTo>
                  <a:cubicBezTo>
                    <a:pt x="15" y="49"/>
                    <a:pt x="0" y="79"/>
                    <a:pt x="0" y="121"/>
                  </a:cubicBezTo>
                  <a:lnTo>
                    <a:pt x="0" y="138"/>
                  </a:lnTo>
                  <a:lnTo>
                    <a:pt x="203" y="138"/>
                  </a:lnTo>
                  <a:lnTo>
                    <a:pt x="203" y="14"/>
                  </a:lnTo>
                  <a:lnTo>
                    <a:pt x="170" y="14"/>
                  </a:lnTo>
                  <a:lnTo>
                    <a:pt x="170" y="105"/>
                  </a:lnTo>
                  <a:lnTo>
                    <a:pt x="16" y="105"/>
                  </a:lnTo>
                  <a:lnTo>
                    <a:pt x="16" y="121"/>
                  </a:lnTo>
                  <a:lnTo>
                    <a:pt x="33" y="121"/>
                  </a:lnTo>
                  <a:cubicBezTo>
                    <a:pt x="33" y="87"/>
                    <a:pt x="45" y="64"/>
                    <a:pt x="56" y="49"/>
                  </a:cubicBezTo>
                  <a:cubicBezTo>
                    <a:pt x="62" y="42"/>
                    <a:pt x="67" y="36"/>
                    <a:pt x="71" y="33"/>
                  </a:cubicBezTo>
                  <a:cubicBezTo>
                    <a:pt x="74" y="31"/>
                    <a:pt x="75" y="30"/>
                    <a:pt x="76" y="29"/>
                  </a:cubicBezTo>
                  <a:lnTo>
                    <a:pt x="77" y="28"/>
                  </a:lnTo>
                  <a:lnTo>
                    <a:pt x="78" y="28"/>
                  </a:lnTo>
                  <a:lnTo>
                    <a:pt x="74" y="23"/>
                  </a:lnTo>
                  <a:lnTo>
                    <a:pt x="78" y="28"/>
                  </a:lnTo>
                  <a:lnTo>
                    <a:pt x="78" y="28"/>
                  </a:lnTo>
                  <a:lnTo>
                    <a:pt x="74" y="23"/>
                  </a:lnTo>
                  <a:lnTo>
                    <a:pt x="78" y="28"/>
                  </a:lnTo>
                  <a:lnTo>
                    <a:pt x="60" y="0"/>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3" name="Freeform 219">
              <a:extLst>
                <a:ext uri="{FF2B5EF4-FFF2-40B4-BE49-F238E27FC236}">
                  <a16:creationId xmlns:a16="http://schemas.microsoft.com/office/drawing/2014/main" id="{34C59347-F527-43A9-B78C-F5504900492F}"/>
                </a:ext>
              </a:extLst>
            </p:cNvPr>
            <p:cNvSpPr>
              <a:spLocks/>
            </p:cNvSpPr>
            <p:nvPr/>
          </p:nvSpPr>
          <p:spPr bwMode="auto">
            <a:xfrm>
              <a:off x="4346576" y="6550026"/>
              <a:ext cx="30163" cy="19050"/>
            </a:xfrm>
            <a:custGeom>
              <a:avLst/>
              <a:gdLst>
                <a:gd name="T0" fmla="*/ 76 w 152"/>
                <a:gd name="T1" fmla="*/ 17 h 93"/>
                <a:gd name="T2" fmla="*/ 76 w 152"/>
                <a:gd name="T3" fmla="*/ 0 h 93"/>
                <a:gd name="T4" fmla="*/ 0 w 152"/>
                <a:gd name="T5" fmla="*/ 77 h 93"/>
                <a:gd name="T6" fmla="*/ 0 w 152"/>
                <a:gd name="T7" fmla="*/ 93 h 93"/>
                <a:gd name="T8" fmla="*/ 152 w 152"/>
                <a:gd name="T9" fmla="*/ 93 h 93"/>
                <a:gd name="T10" fmla="*/ 152 w 152"/>
                <a:gd name="T11" fmla="*/ 77 h 93"/>
                <a:gd name="T12" fmla="*/ 76 w 152"/>
                <a:gd name="T13" fmla="*/ 0 h 93"/>
                <a:gd name="T14" fmla="*/ 76 w 152"/>
                <a:gd name="T15" fmla="*/ 17 h 93"/>
                <a:gd name="T16" fmla="*/ 76 w 152"/>
                <a:gd name="T17" fmla="*/ 34 h 93"/>
                <a:gd name="T18" fmla="*/ 119 w 152"/>
                <a:gd name="T19" fmla="*/ 77 h 93"/>
                <a:gd name="T20" fmla="*/ 136 w 152"/>
                <a:gd name="T21" fmla="*/ 77 h 93"/>
                <a:gd name="T22" fmla="*/ 136 w 152"/>
                <a:gd name="T23" fmla="*/ 60 h 93"/>
                <a:gd name="T24" fmla="*/ 16 w 152"/>
                <a:gd name="T25" fmla="*/ 60 h 93"/>
                <a:gd name="T26" fmla="*/ 16 w 152"/>
                <a:gd name="T27" fmla="*/ 77 h 93"/>
                <a:gd name="T28" fmla="*/ 33 w 152"/>
                <a:gd name="T29" fmla="*/ 77 h 93"/>
                <a:gd name="T30" fmla="*/ 76 w 152"/>
                <a:gd name="T31" fmla="*/ 34 h 93"/>
                <a:gd name="T32" fmla="*/ 76 w 152"/>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93">
                  <a:moveTo>
                    <a:pt x="76" y="17"/>
                  </a:moveTo>
                  <a:lnTo>
                    <a:pt x="76" y="0"/>
                  </a:lnTo>
                  <a:cubicBezTo>
                    <a:pt x="34" y="0"/>
                    <a:pt x="0" y="35"/>
                    <a:pt x="0" y="77"/>
                  </a:cubicBezTo>
                  <a:lnTo>
                    <a:pt x="0" y="93"/>
                  </a:lnTo>
                  <a:lnTo>
                    <a:pt x="152" y="93"/>
                  </a:lnTo>
                  <a:lnTo>
                    <a:pt x="152" y="77"/>
                  </a:lnTo>
                  <a:cubicBezTo>
                    <a:pt x="152" y="35"/>
                    <a:pt x="118" y="0"/>
                    <a:pt x="76" y="0"/>
                  </a:cubicBezTo>
                  <a:lnTo>
                    <a:pt x="76" y="17"/>
                  </a:lnTo>
                  <a:lnTo>
                    <a:pt x="76" y="34"/>
                  </a:lnTo>
                  <a:cubicBezTo>
                    <a:pt x="100" y="34"/>
                    <a:pt x="119" y="53"/>
                    <a:pt x="119" y="77"/>
                  </a:cubicBezTo>
                  <a:lnTo>
                    <a:pt x="136" y="77"/>
                  </a:lnTo>
                  <a:lnTo>
                    <a:pt x="136" y="60"/>
                  </a:lnTo>
                  <a:lnTo>
                    <a:pt x="16" y="60"/>
                  </a:lnTo>
                  <a:lnTo>
                    <a:pt x="16" y="77"/>
                  </a:lnTo>
                  <a:lnTo>
                    <a:pt x="33" y="77"/>
                  </a:lnTo>
                  <a:cubicBezTo>
                    <a:pt x="33" y="53"/>
                    <a:pt x="52" y="34"/>
                    <a:pt x="76" y="34"/>
                  </a:cubicBezTo>
                  <a:lnTo>
                    <a:pt x="76" y="17"/>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4" name="Freeform 220">
              <a:extLst>
                <a:ext uri="{FF2B5EF4-FFF2-40B4-BE49-F238E27FC236}">
                  <a16:creationId xmlns:a16="http://schemas.microsoft.com/office/drawing/2014/main" id="{2AB9521B-528B-4873-9C0E-CB3D92848598}"/>
                </a:ext>
              </a:extLst>
            </p:cNvPr>
            <p:cNvSpPr>
              <a:spLocks/>
            </p:cNvSpPr>
            <p:nvPr/>
          </p:nvSpPr>
          <p:spPr bwMode="auto">
            <a:xfrm>
              <a:off x="4441826" y="6538913"/>
              <a:ext cx="30163" cy="20638"/>
            </a:xfrm>
            <a:custGeom>
              <a:avLst/>
              <a:gdLst>
                <a:gd name="T0" fmla="*/ 76 w 153"/>
                <a:gd name="T1" fmla="*/ 17 h 93"/>
                <a:gd name="T2" fmla="*/ 76 w 153"/>
                <a:gd name="T3" fmla="*/ 0 h 93"/>
                <a:gd name="T4" fmla="*/ 0 w 153"/>
                <a:gd name="T5" fmla="*/ 77 h 93"/>
                <a:gd name="T6" fmla="*/ 0 w 153"/>
                <a:gd name="T7" fmla="*/ 93 h 93"/>
                <a:gd name="T8" fmla="*/ 153 w 153"/>
                <a:gd name="T9" fmla="*/ 93 h 93"/>
                <a:gd name="T10" fmla="*/ 153 w 153"/>
                <a:gd name="T11" fmla="*/ 77 h 93"/>
                <a:gd name="T12" fmla="*/ 76 w 153"/>
                <a:gd name="T13" fmla="*/ 0 h 93"/>
                <a:gd name="T14" fmla="*/ 76 w 153"/>
                <a:gd name="T15" fmla="*/ 17 h 93"/>
                <a:gd name="T16" fmla="*/ 76 w 153"/>
                <a:gd name="T17" fmla="*/ 34 h 93"/>
                <a:gd name="T18" fmla="*/ 119 w 153"/>
                <a:gd name="T19" fmla="*/ 77 h 93"/>
                <a:gd name="T20" fmla="*/ 136 w 153"/>
                <a:gd name="T21" fmla="*/ 77 h 93"/>
                <a:gd name="T22" fmla="*/ 136 w 153"/>
                <a:gd name="T23" fmla="*/ 60 h 93"/>
                <a:gd name="T24" fmla="*/ 17 w 153"/>
                <a:gd name="T25" fmla="*/ 60 h 93"/>
                <a:gd name="T26" fmla="*/ 17 w 153"/>
                <a:gd name="T27" fmla="*/ 77 h 93"/>
                <a:gd name="T28" fmla="*/ 33 w 153"/>
                <a:gd name="T29" fmla="*/ 77 h 93"/>
                <a:gd name="T30" fmla="*/ 76 w 153"/>
                <a:gd name="T31" fmla="*/ 34 h 93"/>
                <a:gd name="T32" fmla="*/ 76 w 153"/>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93">
                  <a:moveTo>
                    <a:pt x="76" y="17"/>
                  </a:moveTo>
                  <a:lnTo>
                    <a:pt x="76" y="0"/>
                  </a:lnTo>
                  <a:cubicBezTo>
                    <a:pt x="34" y="0"/>
                    <a:pt x="0" y="35"/>
                    <a:pt x="0" y="77"/>
                  </a:cubicBezTo>
                  <a:lnTo>
                    <a:pt x="0" y="93"/>
                  </a:lnTo>
                  <a:lnTo>
                    <a:pt x="153" y="93"/>
                  </a:lnTo>
                  <a:lnTo>
                    <a:pt x="153" y="77"/>
                  </a:lnTo>
                  <a:cubicBezTo>
                    <a:pt x="153" y="35"/>
                    <a:pt x="119" y="0"/>
                    <a:pt x="76" y="0"/>
                  </a:cubicBezTo>
                  <a:lnTo>
                    <a:pt x="76" y="17"/>
                  </a:lnTo>
                  <a:lnTo>
                    <a:pt x="76" y="34"/>
                  </a:lnTo>
                  <a:cubicBezTo>
                    <a:pt x="100" y="34"/>
                    <a:pt x="119" y="53"/>
                    <a:pt x="119" y="77"/>
                  </a:cubicBezTo>
                  <a:lnTo>
                    <a:pt x="136" y="77"/>
                  </a:lnTo>
                  <a:lnTo>
                    <a:pt x="136" y="60"/>
                  </a:lnTo>
                  <a:lnTo>
                    <a:pt x="17" y="60"/>
                  </a:lnTo>
                  <a:lnTo>
                    <a:pt x="17" y="77"/>
                  </a:lnTo>
                  <a:lnTo>
                    <a:pt x="33" y="77"/>
                  </a:lnTo>
                  <a:cubicBezTo>
                    <a:pt x="33" y="53"/>
                    <a:pt x="53" y="34"/>
                    <a:pt x="76" y="34"/>
                  </a:cubicBezTo>
                  <a:lnTo>
                    <a:pt x="76" y="17"/>
                  </a:lnTo>
                  <a:close/>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5" name="Freeform 221">
              <a:extLst>
                <a:ext uri="{FF2B5EF4-FFF2-40B4-BE49-F238E27FC236}">
                  <a16:creationId xmlns:a16="http://schemas.microsoft.com/office/drawing/2014/main" id="{7A0EF2AE-1DA6-4416-AFE0-6B45497B91B8}"/>
                </a:ext>
              </a:extLst>
            </p:cNvPr>
            <p:cNvSpPr>
              <a:spLocks/>
            </p:cNvSpPr>
            <p:nvPr/>
          </p:nvSpPr>
          <p:spPr bwMode="auto">
            <a:xfrm>
              <a:off x="4456113" y="6538913"/>
              <a:ext cx="26988" cy="12700"/>
            </a:xfrm>
            <a:custGeom>
              <a:avLst/>
              <a:gdLst>
                <a:gd name="T0" fmla="*/ 4 w 131"/>
                <a:gd name="T1" fmla="*/ 35 h 58"/>
                <a:gd name="T2" fmla="*/ 4 w 131"/>
                <a:gd name="T3" fmla="*/ 35 h 58"/>
                <a:gd name="T4" fmla="*/ 25 w 131"/>
                <a:gd name="T5" fmla="*/ 34 h 58"/>
                <a:gd name="T6" fmla="*/ 70 w 131"/>
                <a:gd name="T7" fmla="*/ 39 h 58"/>
                <a:gd name="T8" fmla="*/ 105 w 131"/>
                <a:gd name="T9" fmla="*/ 58 h 58"/>
                <a:gd name="T10" fmla="*/ 131 w 131"/>
                <a:gd name="T11" fmla="*/ 38 h 58"/>
                <a:gd name="T12" fmla="*/ 78 w 131"/>
                <a:gd name="T13" fmla="*/ 7 h 58"/>
                <a:gd name="T14" fmla="*/ 25 w 131"/>
                <a:gd name="T15" fmla="*/ 0 h 58"/>
                <a:gd name="T16" fmla="*/ 0 w 131"/>
                <a:gd name="T17" fmla="*/ 2 h 58"/>
                <a:gd name="T18" fmla="*/ 4 w 131"/>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58">
                  <a:moveTo>
                    <a:pt x="4" y="35"/>
                  </a:moveTo>
                  <a:lnTo>
                    <a:pt x="4" y="35"/>
                  </a:lnTo>
                  <a:cubicBezTo>
                    <a:pt x="6" y="35"/>
                    <a:pt x="14" y="34"/>
                    <a:pt x="25" y="34"/>
                  </a:cubicBezTo>
                  <a:cubicBezTo>
                    <a:pt x="38" y="34"/>
                    <a:pt x="55" y="35"/>
                    <a:pt x="70" y="39"/>
                  </a:cubicBezTo>
                  <a:cubicBezTo>
                    <a:pt x="85" y="43"/>
                    <a:pt x="98" y="49"/>
                    <a:pt x="105" y="58"/>
                  </a:cubicBezTo>
                  <a:lnTo>
                    <a:pt x="131" y="38"/>
                  </a:lnTo>
                  <a:cubicBezTo>
                    <a:pt x="118" y="20"/>
                    <a:pt x="98" y="11"/>
                    <a:pt x="78" y="7"/>
                  </a:cubicBezTo>
                  <a:cubicBezTo>
                    <a:pt x="59" y="1"/>
                    <a:pt x="40" y="0"/>
                    <a:pt x="25" y="0"/>
                  </a:cubicBezTo>
                  <a:cubicBezTo>
                    <a:pt x="11" y="0"/>
                    <a:pt x="1" y="1"/>
                    <a:pt x="0" y="2"/>
                  </a:cubicBezTo>
                  <a:lnTo>
                    <a:pt x="4" y="35"/>
                  </a:lnTo>
                </a:path>
              </a:pathLst>
            </a:custGeom>
            <a:grpFill/>
            <a:ln w="9525">
              <a:solidFill>
                <a:srgbClr val="C2D8D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96" name="Image 395" descr="Une image contenant texte, pièce&#10;&#10;Description générée automatiquement">
            <a:extLst>
              <a:ext uri="{FF2B5EF4-FFF2-40B4-BE49-F238E27FC236}">
                <a16:creationId xmlns:a16="http://schemas.microsoft.com/office/drawing/2014/main" id="{865F9F66-CEDD-46FD-B1F5-264C96F7FF40}"/>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883493" y="2560485"/>
            <a:ext cx="770676" cy="584200"/>
          </a:xfrm>
          <a:prstGeom prst="rect">
            <a:avLst/>
          </a:prstGeom>
        </p:spPr>
      </p:pic>
      <p:cxnSp>
        <p:nvCxnSpPr>
          <p:cNvPr id="397" name="Connecteur droit avec flèche 396">
            <a:extLst>
              <a:ext uri="{FF2B5EF4-FFF2-40B4-BE49-F238E27FC236}">
                <a16:creationId xmlns:a16="http://schemas.microsoft.com/office/drawing/2014/main" id="{C6C2F546-7E2A-431E-B0B4-E4478D8E2691}"/>
              </a:ext>
            </a:extLst>
          </p:cNvPr>
          <p:cNvCxnSpPr>
            <a:cxnSpLocks/>
          </p:cNvCxnSpPr>
          <p:nvPr/>
        </p:nvCxnSpPr>
        <p:spPr>
          <a:xfrm>
            <a:off x="5854550" y="3260855"/>
            <a:ext cx="1901998" cy="0"/>
          </a:xfrm>
          <a:prstGeom prst="straightConnector1">
            <a:avLst/>
          </a:prstGeom>
          <a:ln w="19050">
            <a:solidFill>
              <a:srgbClr val="1B9D91"/>
            </a:solidFill>
            <a:tailEnd type="triangle"/>
          </a:ln>
        </p:spPr>
        <p:style>
          <a:lnRef idx="1">
            <a:schemeClr val="accent1"/>
          </a:lnRef>
          <a:fillRef idx="0">
            <a:schemeClr val="accent1"/>
          </a:fillRef>
          <a:effectRef idx="0">
            <a:schemeClr val="accent1"/>
          </a:effectRef>
          <a:fontRef idx="minor">
            <a:schemeClr val="tx1"/>
          </a:fontRef>
        </p:style>
      </p:cxnSp>
      <p:sp>
        <p:nvSpPr>
          <p:cNvPr id="398" name="Arrow24" descr="{&quot;Key&quot;:&quot;POWER_USER_SHAPE_ICON&quot;,&quot;Value&quot;:&quot;POWER_USER_SHAPE_ICON_STYLE_1&quot;}">
            <a:extLst>
              <a:ext uri="{FF2B5EF4-FFF2-40B4-BE49-F238E27FC236}">
                <a16:creationId xmlns:a16="http://schemas.microsoft.com/office/drawing/2014/main" id="{EE47772F-A430-419D-B962-411C6EE09933}"/>
              </a:ext>
            </a:extLst>
          </p:cNvPr>
          <p:cNvSpPr>
            <a:spLocks noChangeAspect="1"/>
          </p:cNvSpPr>
          <p:nvPr/>
        </p:nvSpPr>
        <p:spPr bwMode="auto">
          <a:xfrm rot="15666150" flipV="1">
            <a:off x="6372983" y="2677579"/>
            <a:ext cx="692538" cy="2188020"/>
          </a:xfrm>
          <a:custGeom>
            <a:avLst/>
            <a:gdLst>
              <a:gd name="T0" fmla="*/ 657 w 952"/>
              <a:gd name="T1" fmla="*/ 1166 h 1430"/>
              <a:gd name="T2" fmla="*/ 637 w 952"/>
              <a:gd name="T3" fmla="*/ 1160 h 1430"/>
              <a:gd name="T4" fmla="*/ 614 w 952"/>
              <a:gd name="T5" fmla="*/ 1151 h 1430"/>
              <a:gd name="T6" fmla="*/ 591 w 952"/>
              <a:gd name="T7" fmla="*/ 1142 h 1430"/>
              <a:gd name="T8" fmla="*/ 490 w 952"/>
              <a:gd name="T9" fmla="*/ 1095 h 1430"/>
              <a:gd name="T10" fmla="*/ 267 w 952"/>
              <a:gd name="T11" fmla="*/ 923 h 1430"/>
              <a:gd name="T12" fmla="*/ 171 w 952"/>
              <a:gd name="T13" fmla="*/ 796 h 1430"/>
              <a:gd name="T14" fmla="*/ 106 w 952"/>
              <a:gd name="T15" fmla="*/ 645 h 1430"/>
              <a:gd name="T16" fmla="*/ 90 w 952"/>
              <a:gd name="T17" fmla="*/ 564 h 1430"/>
              <a:gd name="T18" fmla="*/ 89 w 952"/>
              <a:gd name="T19" fmla="*/ 482 h 1430"/>
              <a:gd name="T20" fmla="*/ 100 w 952"/>
              <a:gd name="T21" fmla="*/ 402 h 1430"/>
              <a:gd name="T22" fmla="*/ 111 w 952"/>
              <a:gd name="T23" fmla="*/ 364 h 1430"/>
              <a:gd name="T24" fmla="*/ 113 w 952"/>
              <a:gd name="T25" fmla="*/ 359 h 1430"/>
              <a:gd name="T26" fmla="*/ 113 w 952"/>
              <a:gd name="T27" fmla="*/ 358 h 1430"/>
              <a:gd name="T28" fmla="*/ 113 w 952"/>
              <a:gd name="T29" fmla="*/ 359 h 1430"/>
              <a:gd name="T30" fmla="*/ 113 w 952"/>
              <a:gd name="T31" fmla="*/ 358 h 1430"/>
              <a:gd name="T32" fmla="*/ 114 w 952"/>
              <a:gd name="T33" fmla="*/ 355 h 1430"/>
              <a:gd name="T34" fmla="*/ 118 w 952"/>
              <a:gd name="T35" fmla="*/ 345 h 1430"/>
              <a:gd name="T36" fmla="*/ 126 w 952"/>
              <a:gd name="T37" fmla="*/ 326 h 1430"/>
              <a:gd name="T38" fmla="*/ 143 w 952"/>
              <a:gd name="T39" fmla="*/ 291 h 1430"/>
              <a:gd name="T40" fmla="*/ 162 w 952"/>
              <a:gd name="T41" fmla="*/ 258 h 1430"/>
              <a:gd name="T42" fmla="*/ 184 w 952"/>
              <a:gd name="T43" fmla="*/ 227 h 1430"/>
              <a:gd name="T44" fmla="*/ 208 w 952"/>
              <a:gd name="T45" fmla="*/ 198 h 1430"/>
              <a:gd name="T46" fmla="*/ 314 w 952"/>
              <a:gd name="T47" fmla="*/ 107 h 1430"/>
              <a:gd name="T48" fmla="*/ 420 w 952"/>
              <a:gd name="T49" fmla="*/ 50 h 1430"/>
              <a:gd name="T50" fmla="*/ 467 w 952"/>
              <a:gd name="T51" fmla="*/ 31 h 1430"/>
              <a:gd name="T52" fmla="*/ 509 w 952"/>
              <a:gd name="T53" fmla="*/ 18 h 1430"/>
              <a:gd name="T54" fmla="*/ 542 w 952"/>
              <a:gd name="T55" fmla="*/ 9 h 1430"/>
              <a:gd name="T56" fmla="*/ 568 w 952"/>
              <a:gd name="T57" fmla="*/ 4 h 1430"/>
              <a:gd name="T58" fmla="*/ 589 w 952"/>
              <a:gd name="T59" fmla="*/ 0 h 1430"/>
              <a:gd name="T60" fmla="*/ 567 w 952"/>
              <a:gd name="T61" fmla="*/ 2 h 1430"/>
              <a:gd name="T62" fmla="*/ 541 w 952"/>
              <a:gd name="T63" fmla="*/ 5 h 1430"/>
              <a:gd name="T64" fmla="*/ 507 w 952"/>
              <a:gd name="T65" fmla="*/ 10 h 1430"/>
              <a:gd name="T66" fmla="*/ 464 w 952"/>
              <a:gd name="T67" fmla="*/ 19 h 1430"/>
              <a:gd name="T68" fmla="*/ 414 w 952"/>
              <a:gd name="T69" fmla="*/ 32 h 1430"/>
              <a:gd name="T70" fmla="*/ 298 w 952"/>
              <a:gd name="T71" fmla="*/ 80 h 1430"/>
              <a:gd name="T72" fmla="*/ 175 w 952"/>
              <a:gd name="T73" fmla="*/ 165 h 1430"/>
              <a:gd name="T74" fmla="*/ 69 w 952"/>
              <a:gd name="T75" fmla="*/ 299 h 1430"/>
              <a:gd name="T76" fmla="*/ 59 w 952"/>
              <a:gd name="T77" fmla="*/ 318 h 1430"/>
              <a:gd name="T78" fmla="*/ 54 w 952"/>
              <a:gd name="T79" fmla="*/ 327 h 1430"/>
              <a:gd name="T80" fmla="*/ 53 w 952"/>
              <a:gd name="T81" fmla="*/ 330 h 1430"/>
              <a:gd name="T82" fmla="*/ 52 w 952"/>
              <a:gd name="T83" fmla="*/ 331 h 1430"/>
              <a:gd name="T84" fmla="*/ 51 w 952"/>
              <a:gd name="T85" fmla="*/ 333 h 1430"/>
              <a:gd name="T86" fmla="*/ 49 w 952"/>
              <a:gd name="T87" fmla="*/ 339 h 1430"/>
              <a:gd name="T88" fmla="*/ 31 w 952"/>
              <a:gd name="T89" fmla="*/ 382 h 1430"/>
              <a:gd name="T90" fmla="*/ 8 w 952"/>
              <a:gd name="T91" fmla="*/ 473 h 1430"/>
              <a:gd name="T92" fmla="*/ 0 w 952"/>
              <a:gd name="T93" fmla="*/ 569 h 1430"/>
              <a:gd name="T94" fmla="*/ 8 w 952"/>
              <a:gd name="T95" fmla="*/ 666 h 1430"/>
              <a:gd name="T96" fmla="*/ 65 w 952"/>
              <a:gd name="T97" fmla="*/ 850 h 1430"/>
              <a:gd name="T98" fmla="*/ 161 w 952"/>
              <a:gd name="T99" fmla="*/ 1010 h 1430"/>
              <a:gd name="T100" fmla="*/ 401 w 952"/>
              <a:gd name="T101" fmla="*/ 1238 h 1430"/>
              <a:gd name="T102" fmla="*/ 516 w 952"/>
              <a:gd name="T103" fmla="*/ 1308 h 1430"/>
              <a:gd name="T104" fmla="*/ 541 w 952"/>
              <a:gd name="T105" fmla="*/ 1320 h 1430"/>
              <a:gd name="T106" fmla="*/ 563 w 952"/>
              <a:gd name="T107" fmla="*/ 1332 h 1430"/>
              <a:gd name="T108" fmla="*/ 605 w 952"/>
              <a:gd name="T109" fmla="*/ 1350 h 1430"/>
              <a:gd name="T110" fmla="*/ 582 w 952"/>
              <a:gd name="T111" fmla="*/ 1430 h 1430"/>
              <a:gd name="T112" fmla="*/ 952 w 952"/>
              <a:gd name="T113" fmla="*/ 1337 h 1430"/>
              <a:gd name="T114" fmla="*/ 687 w 952"/>
              <a:gd name="T115" fmla="*/ 1063 h 1430"/>
              <a:gd name="T116" fmla="*/ 657 w 952"/>
              <a:gd name="T117" fmla="*/ 116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52" h="1430">
                <a:moveTo>
                  <a:pt x="657" y="1166"/>
                </a:moveTo>
                <a:cubicBezTo>
                  <a:pt x="651" y="1164"/>
                  <a:pt x="644" y="1162"/>
                  <a:pt x="637" y="1160"/>
                </a:cubicBezTo>
                <a:cubicBezTo>
                  <a:pt x="630" y="1157"/>
                  <a:pt x="622" y="1154"/>
                  <a:pt x="614" y="1151"/>
                </a:cubicBezTo>
                <a:cubicBezTo>
                  <a:pt x="606" y="1148"/>
                  <a:pt x="598" y="1145"/>
                  <a:pt x="591" y="1142"/>
                </a:cubicBezTo>
                <a:cubicBezTo>
                  <a:pt x="562" y="1131"/>
                  <a:pt x="526" y="1114"/>
                  <a:pt x="490" y="1095"/>
                </a:cubicBezTo>
                <a:cubicBezTo>
                  <a:pt x="417" y="1056"/>
                  <a:pt x="337" y="999"/>
                  <a:pt x="267" y="923"/>
                </a:cubicBezTo>
                <a:cubicBezTo>
                  <a:pt x="231" y="885"/>
                  <a:pt x="199" y="842"/>
                  <a:pt x="171" y="796"/>
                </a:cubicBezTo>
                <a:cubicBezTo>
                  <a:pt x="143" y="749"/>
                  <a:pt x="120" y="698"/>
                  <a:pt x="106" y="645"/>
                </a:cubicBezTo>
                <a:cubicBezTo>
                  <a:pt x="99" y="618"/>
                  <a:pt x="94" y="591"/>
                  <a:pt x="90" y="564"/>
                </a:cubicBezTo>
                <a:cubicBezTo>
                  <a:pt x="88" y="537"/>
                  <a:pt x="87" y="509"/>
                  <a:pt x="89" y="482"/>
                </a:cubicBezTo>
                <a:cubicBezTo>
                  <a:pt x="90" y="455"/>
                  <a:pt x="94" y="428"/>
                  <a:pt x="100" y="402"/>
                </a:cubicBezTo>
                <a:cubicBezTo>
                  <a:pt x="103" y="389"/>
                  <a:pt x="107" y="376"/>
                  <a:pt x="111" y="364"/>
                </a:cubicBezTo>
                <a:lnTo>
                  <a:pt x="113" y="359"/>
                </a:lnTo>
                <a:lnTo>
                  <a:pt x="113" y="358"/>
                </a:lnTo>
                <a:cubicBezTo>
                  <a:pt x="113" y="358"/>
                  <a:pt x="112" y="360"/>
                  <a:pt x="113" y="359"/>
                </a:cubicBezTo>
                <a:lnTo>
                  <a:pt x="113" y="358"/>
                </a:lnTo>
                <a:lnTo>
                  <a:pt x="114" y="355"/>
                </a:lnTo>
                <a:lnTo>
                  <a:pt x="118" y="345"/>
                </a:lnTo>
                <a:lnTo>
                  <a:pt x="126" y="326"/>
                </a:lnTo>
                <a:cubicBezTo>
                  <a:pt x="131" y="314"/>
                  <a:pt x="137" y="303"/>
                  <a:pt x="143" y="291"/>
                </a:cubicBezTo>
                <a:cubicBezTo>
                  <a:pt x="149" y="280"/>
                  <a:pt x="156" y="269"/>
                  <a:pt x="162" y="258"/>
                </a:cubicBezTo>
                <a:cubicBezTo>
                  <a:pt x="170" y="247"/>
                  <a:pt x="177" y="237"/>
                  <a:pt x="184" y="227"/>
                </a:cubicBezTo>
                <a:cubicBezTo>
                  <a:pt x="192" y="217"/>
                  <a:pt x="200" y="207"/>
                  <a:pt x="208" y="198"/>
                </a:cubicBezTo>
                <a:cubicBezTo>
                  <a:pt x="241" y="161"/>
                  <a:pt x="277" y="131"/>
                  <a:pt x="314" y="107"/>
                </a:cubicBezTo>
                <a:cubicBezTo>
                  <a:pt x="351" y="83"/>
                  <a:pt x="387" y="64"/>
                  <a:pt x="420" y="50"/>
                </a:cubicBezTo>
                <a:cubicBezTo>
                  <a:pt x="437" y="43"/>
                  <a:pt x="453" y="37"/>
                  <a:pt x="467" y="31"/>
                </a:cubicBezTo>
                <a:cubicBezTo>
                  <a:pt x="482" y="27"/>
                  <a:pt x="496" y="22"/>
                  <a:pt x="509" y="18"/>
                </a:cubicBezTo>
                <a:cubicBezTo>
                  <a:pt x="521" y="15"/>
                  <a:pt x="532" y="12"/>
                  <a:pt x="542" y="9"/>
                </a:cubicBezTo>
                <a:cubicBezTo>
                  <a:pt x="552" y="7"/>
                  <a:pt x="561" y="6"/>
                  <a:pt x="568" y="4"/>
                </a:cubicBezTo>
                <a:cubicBezTo>
                  <a:pt x="581" y="1"/>
                  <a:pt x="589" y="0"/>
                  <a:pt x="589" y="0"/>
                </a:cubicBezTo>
                <a:cubicBezTo>
                  <a:pt x="589" y="0"/>
                  <a:pt x="581" y="0"/>
                  <a:pt x="567" y="2"/>
                </a:cubicBezTo>
                <a:cubicBezTo>
                  <a:pt x="560" y="3"/>
                  <a:pt x="552" y="3"/>
                  <a:pt x="541" y="5"/>
                </a:cubicBezTo>
                <a:cubicBezTo>
                  <a:pt x="531" y="6"/>
                  <a:pt x="520" y="8"/>
                  <a:pt x="507" y="10"/>
                </a:cubicBezTo>
                <a:cubicBezTo>
                  <a:pt x="494" y="12"/>
                  <a:pt x="479" y="15"/>
                  <a:pt x="464" y="19"/>
                </a:cubicBezTo>
                <a:cubicBezTo>
                  <a:pt x="448" y="23"/>
                  <a:pt x="431" y="27"/>
                  <a:pt x="414" y="32"/>
                </a:cubicBezTo>
                <a:cubicBezTo>
                  <a:pt x="378" y="43"/>
                  <a:pt x="339" y="59"/>
                  <a:pt x="298" y="80"/>
                </a:cubicBezTo>
                <a:cubicBezTo>
                  <a:pt x="257" y="101"/>
                  <a:pt x="215" y="129"/>
                  <a:pt x="175" y="165"/>
                </a:cubicBezTo>
                <a:cubicBezTo>
                  <a:pt x="135" y="202"/>
                  <a:pt x="99" y="245"/>
                  <a:pt x="69" y="299"/>
                </a:cubicBezTo>
                <a:lnTo>
                  <a:pt x="59" y="318"/>
                </a:lnTo>
                <a:lnTo>
                  <a:pt x="54" y="327"/>
                </a:lnTo>
                <a:lnTo>
                  <a:pt x="53" y="330"/>
                </a:lnTo>
                <a:lnTo>
                  <a:pt x="52" y="331"/>
                </a:lnTo>
                <a:lnTo>
                  <a:pt x="51" y="333"/>
                </a:lnTo>
                <a:lnTo>
                  <a:pt x="49" y="339"/>
                </a:lnTo>
                <a:cubicBezTo>
                  <a:pt x="42" y="353"/>
                  <a:pt x="36" y="367"/>
                  <a:pt x="31" y="382"/>
                </a:cubicBezTo>
                <a:cubicBezTo>
                  <a:pt x="21" y="411"/>
                  <a:pt x="13" y="441"/>
                  <a:pt x="8" y="473"/>
                </a:cubicBezTo>
                <a:cubicBezTo>
                  <a:pt x="2" y="504"/>
                  <a:pt x="0" y="537"/>
                  <a:pt x="0" y="569"/>
                </a:cubicBezTo>
                <a:cubicBezTo>
                  <a:pt x="1" y="601"/>
                  <a:pt x="3" y="634"/>
                  <a:pt x="8" y="666"/>
                </a:cubicBezTo>
                <a:cubicBezTo>
                  <a:pt x="19" y="730"/>
                  <a:pt x="39" y="792"/>
                  <a:pt x="65" y="850"/>
                </a:cubicBezTo>
                <a:cubicBezTo>
                  <a:pt x="92" y="908"/>
                  <a:pt x="125" y="962"/>
                  <a:pt x="161" y="1010"/>
                </a:cubicBezTo>
                <a:cubicBezTo>
                  <a:pt x="234" y="1108"/>
                  <a:pt x="321" y="1183"/>
                  <a:pt x="401" y="1238"/>
                </a:cubicBezTo>
                <a:cubicBezTo>
                  <a:pt x="442" y="1266"/>
                  <a:pt x="478" y="1288"/>
                  <a:pt x="516" y="1308"/>
                </a:cubicBezTo>
                <a:cubicBezTo>
                  <a:pt x="525" y="1313"/>
                  <a:pt x="533" y="1317"/>
                  <a:pt x="541" y="1320"/>
                </a:cubicBezTo>
                <a:cubicBezTo>
                  <a:pt x="548" y="1324"/>
                  <a:pt x="556" y="1328"/>
                  <a:pt x="563" y="1332"/>
                </a:cubicBezTo>
                <a:cubicBezTo>
                  <a:pt x="578" y="1338"/>
                  <a:pt x="592" y="1344"/>
                  <a:pt x="605" y="1350"/>
                </a:cubicBezTo>
                <a:lnTo>
                  <a:pt x="582" y="1430"/>
                </a:lnTo>
                <a:lnTo>
                  <a:pt x="952" y="1337"/>
                </a:lnTo>
                <a:lnTo>
                  <a:pt x="687" y="1063"/>
                </a:lnTo>
                <a:lnTo>
                  <a:pt x="657" y="1166"/>
                </a:lnTo>
              </a:path>
            </a:pathLst>
          </a:custGeom>
          <a:noFill/>
          <a:ln w="19050">
            <a:solidFill>
              <a:srgbClr val="92D05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0" name="ZoneTexte 399">
            <a:extLst>
              <a:ext uri="{FF2B5EF4-FFF2-40B4-BE49-F238E27FC236}">
                <a16:creationId xmlns:a16="http://schemas.microsoft.com/office/drawing/2014/main" id="{83B68DCD-3DCB-449D-AE05-EF566B039FFD}"/>
              </a:ext>
            </a:extLst>
          </p:cNvPr>
          <p:cNvSpPr txBox="1"/>
          <p:nvPr/>
        </p:nvSpPr>
        <p:spPr>
          <a:xfrm>
            <a:off x="6880132" y="2363721"/>
            <a:ext cx="837812" cy="230832"/>
          </a:xfrm>
          <a:prstGeom prst="rect">
            <a:avLst/>
          </a:prstGeom>
          <a:noFill/>
        </p:spPr>
        <p:txBody>
          <a:bodyPr wrap="square" rtlCol="0">
            <a:spAutoFit/>
          </a:bodyPr>
          <a:lstStyle/>
          <a:p>
            <a:pPr algn="ctr"/>
            <a:r>
              <a:rPr lang="fr-FR" sz="900" b="1" dirty="0">
                <a:solidFill>
                  <a:srgbClr val="1B9D91"/>
                </a:solidFill>
              </a:rPr>
              <a:t>Marchés</a:t>
            </a:r>
          </a:p>
        </p:txBody>
      </p:sp>
      <p:sp>
        <p:nvSpPr>
          <p:cNvPr id="401" name="Est égal à 400">
            <a:extLst>
              <a:ext uri="{FF2B5EF4-FFF2-40B4-BE49-F238E27FC236}">
                <a16:creationId xmlns:a16="http://schemas.microsoft.com/office/drawing/2014/main" id="{33CD79F3-B8BA-4827-BAFE-B5A29F8A5988}"/>
              </a:ext>
            </a:extLst>
          </p:cNvPr>
          <p:cNvSpPr/>
          <p:nvPr/>
        </p:nvSpPr>
        <p:spPr>
          <a:xfrm>
            <a:off x="6604429" y="4355493"/>
            <a:ext cx="308201" cy="282390"/>
          </a:xfrm>
          <a:prstGeom prst="mathEqual">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grpSp>
        <p:nvGrpSpPr>
          <p:cNvPr id="402" name="Line_chart5" descr="{&quot;Key&quot;:&quot;POWER_USER_SHAPE_ICON&quot;,&quot;Value&quot;:&quot;POWER_USER_SHAPE_ICON_STYLE_1&quot;}">
            <a:extLst>
              <a:ext uri="{FF2B5EF4-FFF2-40B4-BE49-F238E27FC236}">
                <a16:creationId xmlns:a16="http://schemas.microsoft.com/office/drawing/2014/main" id="{BE3118AD-1D1F-401C-A574-CC7AC65A501E}"/>
              </a:ext>
            </a:extLst>
          </p:cNvPr>
          <p:cNvGrpSpPr>
            <a:grpSpLocks noChangeAspect="1"/>
          </p:cNvGrpSpPr>
          <p:nvPr>
            <p:custDataLst>
              <p:tags r:id="rId5"/>
            </p:custDataLst>
          </p:nvPr>
        </p:nvGrpSpPr>
        <p:grpSpPr>
          <a:xfrm>
            <a:off x="7047466" y="4279510"/>
            <a:ext cx="466655" cy="434356"/>
            <a:chOff x="8358188" y="1762126"/>
            <a:chExt cx="665163" cy="619125"/>
          </a:xfrm>
          <a:solidFill>
            <a:srgbClr val="92D050"/>
          </a:solidFill>
        </p:grpSpPr>
        <p:sp>
          <p:nvSpPr>
            <p:cNvPr id="403" name="Freeform 8">
              <a:extLst>
                <a:ext uri="{FF2B5EF4-FFF2-40B4-BE49-F238E27FC236}">
                  <a16:creationId xmlns:a16="http://schemas.microsoft.com/office/drawing/2014/main" id="{B506DCE3-C48D-4B23-A52D-F368C114A9D9}"/>
                </a:ext>
              </a:extLst>
            </p:cNvPr>
            <p:cNvSpPr>
              <a:spLocks/>
            </p:cNvSpPr>
            <p:nvPr/>
          </p:nvSpPr>
          <p:spPr bwMode="auto">
            <a:xfrm>
              <a:off x="8358188" y="1762126"/>
              <a:ext cx="665163" cy="619125"/>
            </a:xfrm>
            <a:custGeom>
              <a:avLst/>
              <a:gdLst>
                <a:gd name="T0" fmla="*/ 419 w 419"/>
                <a:gd name="T1" fmla="*/ 390 h 390"/>
                <a:gd name="T2" fmla="*/ 0 w 419"/>
                <a:gd name="T3" fmla="*/ 390 h 390"/>
                <a:gd name="T4" fmla="*/ 0 w 419"/>
                <a:gd name="T5" fmla="*/ 0 h 390"/>
                <a:gd name="T6" fmla="*/ 30 w 419"/>
                <a:gd name="T7" fmla="*/ 0 h 390"/>
                <a:gd name="T8" fmla="*/ 30 w 419"/>
                <a:gd name="T9" fmla="*/ 359 h 390"/>
                <a:gd name="T10" fmla="*/ 419 w 419"/>
                <a:gd name="T11" fmla="*/ 359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59"/>
                  </a:lnTo>
                  <a:lnTo>
                    <a:pt x="419" y="359"/>
                  </a:lnTo>
                  <a:lnTo>
                    <a:pt x="419" y="3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4" name="Freeform 94">
              <a:extLst>
                <a:ext uri="{FF2B5EF4-FFF2-40B4-BE49-F238E27FC236}">
                  <a16:creationId xmlns:a16="http://schemas.microsoft.com/office/drawing/2014/main" id="{E40DED9F-541E-43A9-87E8-0600D8C7A1F7}"/>
                </a:ext>
              </a:extLst>
            </p:cNvPr>
            <p:cNvSpPr>
              <a:spLocks/>
            </p:cNvSpPr>
            <p:nvPr/>
          </p:nvSpPr>
          <p:spPr bwMode="auto">
            <a:xfrm>
              <a:off x="8359776" y="1857376"/>
              <a:ext cx="663575" cy="476250"/>
            </a:xfrm>
            <a:custGeom>
              <a:avLst/>
              <a:gdLst>
                <a:gd name="T0" fmla="*/ 872 w 872"/>
                <a:gd name="T1" fmla="*/ 161 h 625"/>
                <a:gd name="T2" fmla="*/ 751 w 872"/>
                <a:gd name="T3" fmla="*/ 199 h 625"/>
                <a:gd name="T4" fmla="*/ 670 w 872"/>
                <a:gd name="T5" fmla="*/ 102 h 625"/>
                <a:gd name="T6" fmla="*/ 578 w 872"/>
                <a:gd name="T7" fmla="*/ 6 h 625"/>
                <a:gd name="T8" fmla="*/ 504 w 872"/>
                <a:gd name="T9" fmla="*/ 24 h 625"/>
                <a:gd name="T10" fmla="*/ 431 w 872"/>
                <a:gd name="T11" fmla="*/ 248 h 625"/>
                <a:gd name="T12" fmla="*/ 402 w 872"/>
                <a:gd name="T13" fmla="*/ 391 h 625"/>
                <a:gd name="T14" fmla="*/ 373 w 872"/>
                <a:gd name="T15" fmla="*/ 437 h 625"/>
                <a:gd name="T16" fmla="*/ 282 w 872"/>
                <a:gd name="T17" fmla="*/ 383 h 625"/>
                <a:gd name="T18" fmla="*/ 208 w 872"/>
                <a:gd name="T19" fmla="*/ 334 h 625"/>
                <a:gd name="T20" fmla="*/ 111 w 872"/>
                <a:gd name="T21" fmla="*/ 358 h 625"/>
                <a:gd name="T22" fmla="*/ 20 w 872"/>
                <a:gd name="T23" fmla="*/ 516 h 625"/>
                <a:gd name="T24" fmla="*/ 0 w 872"/>
                <a:gd name="T25" fmla="*/ 619 h 625"/>
                <a:gd name="T26" fmla="*/ 62 w 872"/>
                <a:gd name="T27" fmla="*/ 625 h 625"/>
                <a:gd name="T28" fmla="*/ 148 w 872"/>
                <a:gd name="T29" fmla="*/ 408 h 625"/>
                <a:gd name="T30" fmla="*/ 197 w 872"/>
                <a:gd name="T31" fmla="*/ 396 h 625"/>
                <a:gd name="T32" fmla="*/ 239 w 872"/>
                <a:gd name="T33" fmla="*/ 429 h 625"/>
                <a:gd name="T34" fmla="*/ 373 w 872"/>
                <a:gd name="T35" fmla="*/ 500 h 625"/>
                <a:gd name="T36" fmla="*/ 461 w 872"/>
                <a:gd name="T37" fmla="*/ 411 h 625"/>
                <a:gd name="T38" fmla="*/ 493 w 872"/>
                <a:gd name="T39" fmla="*/ 258 h 625"/>
                <a:gd name="T40" fmla="*/ 544 w 872"/>
                <a:gd name="T41" fmla="*/ 72 h 625"/>
                <a:gd name="T42" fmla="*/ 562 w 872"/>
                <a:gd name="T43" fmla="*/ 67 h 625"/>
                <a:gd name="T44" fmla="*/ 611 w 872"/>
                <a:gd name="T45" fmla="*/ 123 h 625"/>
                <a:gd name="T46" fmla="*/ 737 w 872"/>
                <a:gd name="T47" fmla="*/ 260 h 625"/>
                <a:gd name="T48" fmla="*/ 770 w 872"/>
                <a:gd name="T49" fmla="*/ 264 h 625"/>
                <a:gd name="T50" fmla="*/ 872 w 872"/>
                <a:gd name="T51" fmla="*/ 235 h 625"/>
                <a:gd name="T52" fmla="*/ 872 w 872"/>
                <a:gd name="T53" fmla="*/ 161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2" h="625">
                  <a:moveTo>
                    <a:pt x="872" y="161"/>
                  </a:moveTo>
                  <a:cubicBezTo>
                    <a:pt x="839" y="184"/>
                    <a:pt x="791" y="209"/>
                    <a:pt x="751" y="199"/>
                  </a:cubicBezTo>
                  <a:cubicBezTo>
                    <a:pt x="717" y="191"/>
                    <a:pt x="689" y="158"/>
                    <a:pt x="670" y="102"/>
                  </a:cubicBezTo>
                  <a:cubicBezTo>
                    <a:pt x="659" y="72"/>
                    <a:pt x="625" y="19"/>
                    <a:pt x="578" y="6"/>
                  </a:cubicBezTo>
                  <a:cubicBezTo>
                    <a:pt x="560" y="1"/>
                    <a:pt x="532" y="0"/>
                    <a:pt x="504" y="24"/>
                  </a:cubicBezTo>
                  <a:cubicBezTo>
                    <a:pt x="461" y="60"/>
                    <a:pt x="447" y="147"/>
                    <a:pt x="431" y="248"/>
                  </a:cubicBezTo>
                  <a:cubicBezTo>
                    <a:pt x="423" y="300"/>
                    <a:pt x="414" y="353"/>
                    <a:pt x="402" y="391"/>
                  </a:cubicBezTo>
                  <a:cubicBezTo>
                    <a:pt x="390" y="425"/>
                    <a:pt x="379" y="437"/>
                    <a:pt x="373" y="437"/>
                  </a:cubicBezTo>
                  <a:cubicBezTo>
                    <a:pt x="341" y="437"/>
                    <a:pt x="310" y="408"/>
                    <a:pt x="282" y="383"/>
                  </a:cubicBezTo>
                  <a:cubicBezTo>
                    <a:pt x="258" y="360"/>
                    <a:pt x="235" y="339"/>
                    <a:pt x="208" y="334"/>
                  </a:cubicBezTo>
                  <a:cubicBezTo>
                    <a:pt x="173" y="328"/>
                    <a:pt x="139" y="336"/>
                    <a:pt x="111" y="358"/>
                  </a:cubicBezTo>
                  <a:cubicBezTo>
                    <a:pt x="72" y="387"/>
                    <a:pt x="41" y="440"/>
                    <a:pt x="20" y="516"/>
                  </a:cubicBezTo>
                  <a:cubicBezTo>
                    <a:pt x="5" y="571"/>
                    <a:pt x="0" y="617"/>
                    <a:pt x="0" y="619"/>
                  </a:cubicBezTo>
                  <a:lnTo>
                    <a:pt x="62" y="625"/>
                  </a:lnTo>
                  <a:cubicBezTo>
                    <a:pt x="67" y="579"/>
                    <a:pt x="92" y="450"/>
                    <a:pt x="148" y="408"/>
                  </a:cubicBezTo>
                  <a:cubicBezTo>
                    <a:pt x="163" y="396"/>
                    <a:pt x="179" y="393"/>
                    <a:pt x="197" y="396"/>
                  </a:cubicBezTo>
                  <a:cubicBezTo>
                    <a:pt x="206" y="397"/>
                    <a:pt x="225" y="415"/>
                    <a:pt x="239" y="429"/>
                  </a:cubicBezTo>
                  <a:cubicBezTo>
                    <a:pt x="274" y="460"/>
                    <a:pt x="316" y="500"/>
                    <a:pt x="373" y="500"/>
                  </a:cubicBezTo>
                  <a:cubicBezTo>
                    <a:pt x="432" y="500"/>
                    <a:pt x="454" y="433"/>
                    <a:pt x="461" y="411"/>
                  </a:cubicBezTo>
                  <a:cubicBezTo>
                    <a:pt x="475" y="368"/>
                    <a:pt x="484" y="312"/>
                    <a:pt x="493" y="258"/>
                  </a:cubicBezTo>
                  <a:cubicBezTo>
                    <a:pt x="504" y="184"/>
                    <a:pt x="519" y="93"/>
                    <a:pt x="544" y="72"/>
                  </a:cubicBezTo>
                  <a:cubicBezTo>
                    <a:pt x="552" y="65"/>
                    <a:pt x="557" y="66"/>
                    <a:pt x="562" y="67"/>
                  </a:cubicBezTo>
                  <a:cubicBezTo>
                    <a:pt x="581" y="72"/>
                    <a:pt x="604" y="104"/>
                    <a:pt x="611" y="123"/>
                  </a:cubicBezTo>
                  <a:cubicBezTo>
                    <a:pt x="638" y="200"/>
                    <a:pt x="681" y="247"/>
                    <a:pt x="737" y="260"/>
                  </a:cubicBezTo>
                  <a:cubicBezTo>
                    <a:pt x="748" y="262"/>
                    <a:pt x="759" y="264"/>
                    <a:pt x="770" y="264"/>
                  </a:cubicBezTo>
                  <a:cubicBezTo>
                    <a:pt x="807" y="264"/>
                    <a:pt x="842" y="250"/>
                    <a:pt x="872" y="235"/>
                  </a:cubicBezTo>
                  <a:lnTo>
                    <a:pt x="872" y="161"/>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405" name="Connecteur droit 404">
            <a:extLst>
              <a:ext uri="{FF2B5EF4-FFF2-40B4-BE49-F238E27FC236}">
                <a16:creationId xmlns:a16="http://schemas.microsoft.com/office/drawing/2014/main" id="{92ED6B38-5F63-4703-A6C4-98F715503ABC}"/>
              </a:ext>
            </a:extLst>
          </p:cNvPr>
          <p:cNvCxnSpPr>
            <a:cxnSpLocks/>
          </p:cNvCxnSpPr>
          <p:nvPr/>
        </p:nvCxnSpPr>
        <p:spPr>
          <a:xfrm>
            <a:off x="7062278" y="4595748"/>
            <a:ext cx="648000" cy="0"/>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406" name="ZoneTexte 405">
            <a:extLst>
              <a:ext uri="{FF2B5EF4-FFF2-40B4-BE49-F238E27FC236}">
                <a16:creationId xmlns:a16="http://schemas.microsoft.com/office/drawing/2014/main" id="{CD8069C1-C153-48B8-B291-801F2A312EC2}"/>
              </a:ext>
            </a:extLst>
          </p:cNvPr>
          <p:cNvSpPr txBox="1"/>
          <p:nvPr/>
        </p:nvSpPr>
        <p:spPr>
          <a:xfrm>
            <a:off x="7685307" y="4380602"/>
            <a:ext cx="617884" cy="369332"/>
          </a:xfrm>
          <a:prstGeom prst="rect">
            <a:avLst/>
          </a:prstGeom>
          <a:noFill/>
        </p:spPr>
        <p:txBody>
          <a:bodyPr wrap="square" rtlCol="0">
            <a:spAutoFit/>
          </a:bodyPr>
          <a:lstStyle/>
          <a:p>
            <a:r>
              <a:rPr lang="fr-FR" sz="900" b="1" dirty="0" err="1">
                <a:solidFill>
                  <a:schemeClr val="accent2"/>
                </a:solidFill>
              </a:rPr>
              <a:t>Lower</a:t>
            </a:r>
            <a:r>
              <a:rPr lang="fr-FR" sz="900" b="1" dirty="0">
                <a:solidFill>
                  <a:schemeClr val="accent2"/>
                </a:solidFill>
              </a:rPr>
              <a:t> </a:t>
            </a:r>
            <a:r>
              <a:rPr lang="fr-FR" sz="900" b="1" dirty="0" err="1">
                <a:solidFill>
                  <a:schemeClr val="accent2"/>
                </a:solidFill>
              </a:rPr>
              <a:t>price</a:t>
            </a:r>
            <a:endParaRPr lang="fr-FR" sz="900" b="1" dirty="0">
              <a:solidFill>
                <a:schemeClr val="accent2"/>
              </a:solidFill>
            </a:endParaRPr>
          </a:p>
        </p:txBody>
      </p:sp>
      <p:pic>
        <p:nvPicPr>
          <p:cNvPr id="407" name="Image 406">
            <a:extLst>
              <a:ext uri="{FF2B5EF4-FFF2-40B4-BE49-F238E27FC236}">
                <a16:creationId xmlns:a16="http://schemas.microsoft.com/office/drawing/2014/main" id="{0208A88B-BF6A-4E84-BAFB-B1BA340C6E5C}"/>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4838566" y="3502341"/>
            <a:ext cx="795538" cy="321715"/>
          </a:xfrm>
          <a:prstGeom prst="rect">
            <a:avLst/>
          </a:prstGeom>
        </p:spPr>
      </p:pic>
      <p:pic>
        <p:nvPicPr>
          <p:cNvPr id="408" name="Image 407">
            <a:extLst>
              <a:ext uri="{FF2B5EF4-FFF2-40B4-BE49-F238E27FC236}">
                <a16:creationId xmlns:a16="http://schemas.microsoft.com/office/drawing/2014/main" id="{4259B485-CF6B-4FC3-BEB3-84D38E2EC97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044484" y="2711752"/>
            <a:ext cx="383703" cy="190161"/>
          </a:xfrm>
          <a:prstGeom prst="rect">
            <a:avLst/>
          </a:prstGeom>
        </p:spPr>
      </p:pic>
      <p:grpSp>
        <p:nvGrpSpPr>
          <p:cNvPr id="409" name="Global_finance2" descr="{&quot;Key&quot;:&quot;POWER_USER_SHAPE_ICON&quot;,&quot;Value&quot;:&quot;POWER_USER_SHAPE_ICON_STYLE_1&quot;}">
            <a:extLst>
              <a:ext uri="{FF2B5EF4-FFF2-40B4-BE49-F238E27FC236}">
                <a16:creationId xmlns:a16="http://schemas.microsoft.com/office/drawing/2014/main" id="{F7ECDBEF-E646-4A4C-8B22-14EFACF86375}"/>
              </a:ext>
            </a:extLst>
          </p:cNvPr>
          <p:cNvGrpSpPr>
            <a:grpSpLocks noChangeAspect="1"/>
          </p:cNvGrpSpPr>
          <p:nvPr/>
        </p:nvGrpSpPr>
        <p:grpSpPr>
          <a:xfrm>
            <a:off x="7002482" y="2628840"/>
            <a:ext cx="531267" cy="447491"/>
            <a:chOff x="4246563" y="5827713"/>
            <a:chExt cx="825500" cy="695325"/>
          </a:xfrm>
        </p:grpSpPr>
        <p:sp>
          <p:nvSpPr>
            <p:cNvPr id="410" name="Freeform 134">
              <a:extLst>
                <a:ext uri="{FF2B5EF4-FFF2-40B4-BE49-F238E27FC236}">
                  <a16:creationId xmlns:a16="http://schemas.microsoft.com/office/drawing/2014/main" id="{51B0D922-422B-489C-865F-74BEB210227D}"/>
                </a:ext>
              </a:extLst>
            </p:cNvPr>
            <p:cNvSpPr>
              <a:spLocks/>
            </p:cNvSpPr>
            <p:nvPr/>
          </p:nvSpPr>
          <p:spPr bwMode="auto">
            <a:xfrm>
              <a:off x="4622800" y="6002338"/>
              <a:ext cx="449263" cy="520700"/>
            </a:xfrm>
            <a:custGeom>
              <a:avLst/>
              <a:gdLst>
                <a:gd name="T0" fmla="*/ 291 w 597"/>
                <a:gd name="T1" fmla="*/ 534 h 692"/>
                <a:gd name="T2" fmla="*/ 215 w 597"/>
                <a:gd name="T3" fmla="*/ 492 h 692"/>
                <a:gd name="T4" fmla="*/ 82 w 597"/>
                <a:gd name="T5" fmla="*/ 492 h 692"/>
                <a:gd name="T6" fmla="*/ 228 w 597"/>
                <a:gd name="T7" fmla="*/ 635 h 692"/>
                <a:gd name="T8" fmla="*/ 229 w 597"/>
                <a:gd name="T9" fmla="*/ 692 h 692"/>
                <a:gd name="T10" fmla="*/ 352 w 597"/>
                <a:gd name="T11" fmla="*/ 692 h 692"/>
                <a:gd name="T12" fmla="*/ 352 w 597"/>
                <a:gd name="T13" fmla="*/ 635 h 692"/>
                <a:gd name="T14" fmla="*/ 309 w 597"/>
                <a:gd name="T15" fmla="*/ 296 h 692"/>
                <a:gd name="T16" fmla="*/ 219 w 597"/>
                <a:gd name="T17" fmla="*/ 263 h 692"/>
                <a:gd name="T18" fmla="*/ 291 w 597"/>
                <a:gd name="T19" fmla="*/ 164 h 692"/>
                <a:gd name="T20" fmla="*/ 373 w 597"/>
                <a:gd name="T21" fmla="*/ 234 h 692"/>
                <a:gd name="T22" fmla="*/ 502 w 597"/>
                <a:gd name="T23" fmla="*/ 234 h 692"/>
                <a:gd name="T24" fmla="*/ 352 w 597"/>
                <a:gd name="T25" fmla="*/ 64 h 692"/>
                <a:gd name="T26" fmla="*/ 352 w 597"/>
                <a:gd name="T27" fmla="*/ 0 h 692"/>
                <a:gd name="T28" fmla="*/ 229 w 597"/>
                <a:gd name="T29" fmla="*/ 0 h 692"/>
                <a:gd name="T30" fmla="*/ 228 w 597"/>
                <a:gd name="T31" fmla="*/ 64 h 692"/>
                <a:gd name="T32" fmla="*/ 288 w 597"/>
                <a:gd name="T33" fmla="*/ 411 h 692"/>
                <a:gd name="T34" fmla="*/ 361 w 597"/>
                <a:gd name="T35" fmla="*/ 437 h 692"/>
                <a:gd name="T36" fmla="*/ 291 w 597"/>
                <a:gd name="T37" fmla="*/ 534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7" h="692">
                  <a:moveTo>
                    <a:pt x="291" y="534"/>
                  </a:moveTo>
                  <a:cubicBezTo>
                    <a:pt x="257" y="534"/>
                    <a:pt x="227" y="517"/>
                    <a:pt x="215" y="492"/>
                  </a:cubicBezTo>
                  <a:lnTo>
                    <a:pt x="82" y="492"/>
                  </a:lnTo>
                  <a:cubicBezTo>
                    <a:pt x="94" y="560"/>
                    <a:pt x="152" y="615"/>
                    <a:pt x="228" y="635"/>
                  </a:cubicBezTo>
                  <a:lnTo>
                    <a:pt x="229" y="692"/>
                  </a:lnTo>
                  <a:lnTo>
                    <a:pt x="352" y="692"/>
                  </a:lnTo>
                  <a:lnTo>
                    <a:pt x="352" y="635"/>
                  </a:lnTo>
                  <a:cubicBezTo>
                    <a:pt x="525" y="601"/>
                    <a:pt x="597" y="333"/>
                    <a:pt x="309" y="296"/>
                  </a:cubicBezTo>
                  <a:cubicBezTo>
                    <a:pt x="251" y="288"/>
                    <a:pt x="230" y="272"/>
                    <a:pt x="219" y="263"/>
                  </a:cubicBezTo>
                  <a:cubicBezTo>
                    <a:pt x="196" y="242"/>
                    <a:pt x="208" y="164"/>
                    <a:pt x="291" y="164"/>
                  </a:cubicBezTo>
                  <a:cubicBezTo>
                    <a:pt x="336" y="164"/>
                    <a:pt x="373" y="196"/>
                    <a:pt x="373" y="234"/>
                  </a:cubicBezTo>
                  <a:lnTo>
                    <a:pt x="502" y="234"/>
                  </a:lnTo>
                  <a:cubicBezTo>
                    <a:pt x="502" y="154"/>
                    <a:pt x="439" y="86"/>
                    <a:pt x="352" y="64"/>
                  </a:cubicBezTo>
                  <a:lnTo>
                    <a:pt x="352" y="0"/>
                  </a:lnTo>
                  <a:lnTo>
                    <a:pt x="229" y="0"/>
                  </a:lnTo>
                  <a:lnTo>
                    <a:pt x="228" y="64"/>
                  </a:lnTo>
                  <a:cubicBezTo>
                    <a:pt x="37" y="112"/>
                    <a:pt x="0" y="378"/>
                    <a:pt x="288" y="411"/>
                  </a:cubicBezTo>
                  <a:cubicBezTo>
                    <a:pt x="329" y="416"/>
                    <a:pt x="352" y="429"/>
                    <a:pt x="361" y="437"/>
                  </a:cubicBezTo>
                  <a:cubicBezTo>
                    <a:pt x="388" y="462"/>
                    <a:pt x="373" y="534"/>
                    <a:pt x="291" y="534"/>
                  </a:cubicBezTo>
                  <a:close/>
                </a:path>
              </a:pathLst>
            </a:custGeom>
            <a:noFill/>
            <a:ln w="19050" cap="flat">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1" name="Freeform 135">
              <a:extLst>
                <a:ext uri="{FF2B5EF4-FFF2-40B4-BE49-F238E27FC236}">
                  <a16:creationId xmlns:a16="http://schemas.microsoft.com/office/drawing/2014/main" id="{BAE94A52-990C-42D9-82FF-1485E5C4729F}"/>
                </a:ext>
              </a:extLst>
            </p:cNvPr>
            <p:cNvSpPr>
              <a:spLocks/>
            </p:cNvSpPr>
            <p:nvPr/>
          </p:nvSpPr>
          <p:spPr bwMode="auto">
            <a:xfrm>
              <a:off x="4246563" y="5827713"/>
              <a:ext cx="604838" cy="639763"/>
            </a:xfrm>
            <a:custGeom>
              <a:avLst/>
              <a:gdLst>
                <a:gd name="T0" fmla="*/ 805 w 805"/>
                <a:gd name="T1" fmla="*/ 233 h 852"/>
                <a:gd name="T2" fmla="*/ 425 w 805"/>
                <a:gd name="T3" fmla="*/ 0 h 852"/>
                <a:gd name="T4" fmla="*/ 0 w 805"/>
                <a:gd name="T5" fmla="*/ 426 h 852"/>
                <a:gd name="T6" fmla="*/ 425 w 805"/>
                <a:gd name="T7" fmla="*/ 852 h 852"/>
                <a:gd name="T8" fmla="*/ 622 w 805"/>
                <a:gd name="T9" fmla="*/ 804 h 852"/>
              </a:gdLst>
              <a:ahLst/>
              <a:cxnLst>
                <a:cxn ang="0">
                  <a:pos x="T0" y="T1"/>
                </a:cxn>
                <a:cxn ang="0">
                  <a:pos x="T2" y="T3"/>
                </a:cxn>
                <a:cxn ang="0">
                  <a:pos x="T4" y="T5"/>
                </a:cxn>
                <a:cxn ang="0">
                  <a:pos x="T6" y="T7"/>
                </a:cxn>
                <a:cxn ang="0">
                  <a:pos x="T8" y="T9"/>
                </a:cxn>
              </a:cxnLst>
              <a:rect l="0" t="0" r="r" b="b"/>
              <a:pathLst>
                <a:path w="805" h="852">
                  <a:moveTo>
                    <a:pt x="805" y="233"/>
                  </a:moveTo>
                  <a:cubicBezTo>
                    <a:pt x="734" y="95"/>
                    <a:pt x="591" y="0"/>
                    <a:pt x="425" y="0"/>
                  </a:cubicBezTo>
                  <a:cubicBezTo>
                    <a:pt x="190" y="0"/>
                    <a:pt x="0" y="191"/>
                    <a:pt x="0" y="426"/>
                  </a:cubicBezTo>
                  <a:cubicBezTo>
                    <a:pt x="0" y="661"/>
                    <a:pt x="190" y="852"/>
                    <a:pt x="425" y="852"/>
                  </a:cubicBezTo>
                  <a:cubicBezTo>
                    <a:pt x="496" y="852"/>
                    <a:pt x="563" y="835"/>
                    <a:pt x="622" y="804"/>
                  </a:cubicBez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2" name="Freeform 136">
              <a:extLst>
                <a:ext uri="{FF2B5EF4-FFF2-40B4-BE49-F238E27FC236}">
                  <a16:creationId xmlns:a16="http://schemas.microsoft.com/office/drawing/2014/main" id="{B135C16F-4AD4-4A1B-9609-4809A5746451}"/>
                </a:ext>
              </a:extLst>
            </p:cNvPr>
            <p:cNvSpPr>
              <a:spLocks/>
            </p:cNvSpPr>
            <p:nvPr/>
          </p:nvSpPr>
          <p:spPr bwMode="auto">
            <a:xfrm>
              <a:off x="4305300" y="5888038"/>
              <a:ext cx="447675" cy="482600"/>
            </a:xfrm>
            <a:custGeom>
              <a:avLst/>
              <a:gdLst>
                <a:gd name="T0" fmla="*/ 0 w 598"/>
                <a:gd name="T1" fmla="*/ 100 h 641"/>
                <a:gd name="T2" fmla="*/ 29 w 598"/>
                <a:gd name="T3" fmla="*/ 159 h 641"/>
                <a:gd name="T4" fmla="*/ 50 w 598"/>
                <a:gd name="T5" fmla="*/ 246 h 641"/>
                <a:gd name="T6" fmla="*/ 98 w 598"/>
                <a:gd name="T7" fmla="*/ 315 h 641"/>
                <a:gd name="T8" fmla="*/ 168 w 598"/>
                <a:gd name="T9" fmla="*/ 365 h 641"/>
                <a:gd name="T10" fmla="*/ 208 w 598"/>
                <a:gd name="T11" fmla="*/ 482 h 641"/>
                <a:gd name="T12" fmla="*/ 321 w 598"/>
                <a:gd name="T13" fmla="*/ 641 h 641"/>
                <a:gd name="T14" fmla="*/ 359 w 598"/>
                <a:gd name="T15" fmla="*/ 641 h 641"/>
                <a:gd name="T16" fmla="*/ 422 w 598"/>
                <a:gd name="T17" fmla="*/ 440 h 641"/>
                <a:gd name="T18" fmla="*/ 401 w 598"/>
                <a:gd name="T19" fmla="*/ 384 h 641"/>
                <a:gd name="T20" fmla="*/ 207 w 598"/>
                <a:gd name="T21" fmla="*/ 329 h 641"/>
                <a:gd name="T22" fmla="*/ 165 w 598"/>
                <a:gd name="T23" fmla="*/ 274 h 641"/>
                <a:gd name="T24" fmla="*/ 291 w 598"/>
                <a:gd name="T25" fmla="*/ 255 h 641"/>
                <a:gd name="T26" fmla="*/ 316 w 598"/>
                <a:gd name="T27" fmla="*/ 198 h 641"/>
                <a:gd name="T28" fmla="*/ 392 w 598"/>
                <a:gd name="T29" fmla="*/ 144 h 641"/>
                <a:gd name="T30" fmla="*/ 374 w 598"/>
                <a:gd name="T31" fmla="*/ 72 h 641"/>
                <a:gd name="T32" fmla="*/ 350 w 598"/>
                <a:gd name="T33" fmla="*/ 48 h 641"/>
                <a:gd name="T34" fmla="*/ 420 w 598"/>
                <a:gd name="T35" fmla="*/ 23 h 641"/>
                <a:gd name="T36" fmla="*/ 433 w 598"/>
                <a:gd name="T37" fmla="*/ 88 h 641"/>
                <a:gd name="T38" fmla="*/ 465 w 598"/>
                <a:gd name="T39" fmla="*/ 88 h 641"/>
                <a:gd name="T40" fmla="*/ 598 w 598"/>
                <a:gd name="T41" fmla="*/ 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8" h="641">
                  <a:moveTo>
                    <a:pt x="0" y="100"/>
                  </a:moveTo>
                  <a:lnTo>
                    <a:pt x="29" y="159"/>
                  </a:lnTo>
                  <a:lnTo>
                    <a:pt x="50" y="246"/>
                  </a:lnTo>
                  <a:lnTo>
                    <a:pt x="98" y="315"/>
                  </a:lnTo>
                  <a:lnTo>
                    <a:pt x="168" y="365"/>
                  </a:lnTo>
                  <a:lnTo>
                    <a:pt x="208" y="482"/>
                  </a:lnTo>
                  <a:lnTo>
                    <a:pt x="321" y="641"/>
                  </a:lnTo>
                  <a:lnTo>
                    <a:pt x="359" y="641"/>
                  </a:lnTo>
                  <a:lnTo>
                    <a:pt x="422" y="440"/>
                  </a:lnTo>
                  <a:lnTo>
                    <a:pt x="401" y="384"/>
                  </a:lnTo>
                  <a:lnTo>
                    <a:pt x="207" y="329"/>
                  </a:lnTo>
                  <a:lnTo>
                    <a:pt x="165" y="274"/>
                  </a:lnTo>
                  <a:lnTo>
                    <a:pt x="291" y="255"/>
                  </a:lnTo>
                  <a:lnTo>
                    <a:pt x="316" y="198"/>
                  </a:lnTo>
                  <a:lnTo>
                    <a:pt x="392" y="144"/>
                  </a:lnTo>
                  <a:lnTo>
                    <a:pt x="374" y="72"/>
                  </a:lnTo>
                  <a:lnTo>
                    <a:pt x="350" y="48"/>
                  </a:lnTo>
                  <a:lnTo>
                    <a:pt x="420" y="23"/>
                  </a:lnTo>
                  <a:lnTo>
                    <a:pt x="433" y="88"/>
                  </a:lnTo>
                  <a:lnTo>
                    <a:pt x="465" y="88"/>
                  </a:lnTo>
                  <a:lnTo>
                    <a:pt x="598" y="0"/>
                  </a:lnTo>
                </a:path>
              </a:pathLst>
            </a:custGeom>
            <a:noFill/>
            <a:ln w="19050" cap="rnd">
              <a:solidFill>
                <a:srgbClr val="1B9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13" name="ZoneTexte 412">
            <a:extLst>
              <a:ext uri="{FF2B5EF4-FFF2-40B4-BE49-F238E27FC236}">
                <a16:creationId xmlns:a16="http://schemas.microsoft.com/office/drawing/2014/main" id="{281D0572-6F35-46B1-9FB1-5B52F4E93566}"/>
              </a:ext>
            </a:extLst>
          </p:cNvPr>
          <p:cNvSpPr txBox="1"/>
          <p:nvPr/>
        </p:nvSpPr>
        <p:spPr>
          <a:xfrm>
            <a:off x="7768769" y="3514259"/>
            <a:ext cx="1051937" cy="276999"/>
          </a:xfrm>
          <a:prstGeom prst="rect">
            <a:avLst/>
          </a:prstGeom>
          <a:noFill/>
        </p:spPr>
        <p:txBody>
          <a:bodyPr wrap="square" rtlCol="0">
            <a:spAutoFit/>
          </a:bodyPr>
          <a:lstStyle/>
          <a:p>
            <a:pPr algn="ctr"/>
            <a:r>
              <a:rPr lang="fr-FR" sz="1200" b="1" dirty="0">
                <a:solidFill>
                  <a:srgbClr val="C2D8D0"/>
                </a:solidFill>
              </a:rPr>
              <a:t>Clients</a:t>
            </a:r>
          </a:p>
        </p:txBody>
      </p:sp>
      <p:sp>
        <p:nvSpPr>
          <p:cNvPr id="414" name="ZoneTexte 413">
            <a:extLst>
              <a:ext uri="{FF2B5EF4-FFF2-40B4-BE49-F238E27FC236}">
                <a16:creationId xmlns:a16="http://schemas.microsoft.com/office/drawing/2014/main" id="{2C01163D-28F2-46C9-8142-45BF4C8D9B2E}"/>
              </a:ext>
            </a:extLst>
          </p:cNvPr>
          <p:cNvSpPr txBox="1"/>
          <p:nvPr/>
        </p:nvSpPr>
        <p:spPr>
          <a:xfrm>
            <a:off x="5936863" y="2108076"/>
            <a:ext cx="1944038" cy="246221"/>
          </a:xfrm>
          <a:prstGeom prst="rect">
            <a:avLst/>
          </a:prstGeom>
          <a:solidFill>
            <a:srgbClr val="1BAE8F"/>
          </a:solidFill>
        </p:spPr>
        <p:txBody>
          <a:bodyPr wrap="square" lIns="88900" tIns="38100" rIns="88900" bIns="38100" rtlCol="0">
            <a:spAutoFit/>
          </a:bodyPr>
          <a:lstStyle/>
          <a:p>
            <a:pPr algn="ctr"/>
            <a:r>
              <a:rPr lang="fr-FR" sz="1100" b="1" dirty="0">
                <a:solidFill>
                  <a:schemeClr val="bg1"/>
                </a:solidFill>
              </a:rPr>
              <a:t>Ventes de demi-produits</a:t>
            </a:r>
          </a:p>
        </p:txBody>
      </p:sp>
      <p:sp>
        <p:nvSpPr>
          <p:cNvPr id="415" name="ZoneTexte 414">
            <a:extLst>
              <a:ext uri="{FF2B5EF4-FFF2-40B4-BE49-F238E27FC236}">
                <a16:creationId xmlns:a16="http://schemas.microsoft.com/office/drawing/2014/main" id="{127CE5CA-A1B7-400F-AB0B-63EE35CA9123}"/>
              </a:ext>
            </a:extLst>
          </p:cNvPr>
          <p:cNvSpPr txBox="1"/>
          <p:nvPr/>
        </p:nvSpPr>
        <p:spPr>
          <a:xfrm>
            <a:off x="6155347" y="4918594"/>
            <a:ext cx="1507071" cy="261610"/>
          </a:xfrm>
          <a:prstGeom prst="rect">
            <a:avLst/>
          </a:prstGeom>
          <a:solidFill>
            <a:srgbClr val="92D050"/>
          </a:solidFill>
        </p:spPr>
        <p:txBody>
          <a:bodyPr wrap="square" rtlCol="0">
            <a:spAutoFit/>
          </a:bodyPr>
          <a:lstStyle/>
          <a:p>
            <a:pPr algn="ctr"/>
            <a:r>
              <a:rPr lang="fr-FR" sz="1100" b="1" dirty="0">
                <a:solidFill>
                  <a:schemeClr val="bg1"/>
                </a:solidFill>
              </a:rPr>
              <a:t>Achats des chutes</a:t>
            </a:r>
          </a:p>
        </p:txBody>
      </p:sp>
      <p:sp>
        <p:nvSpPr>
          <p:cNvPr id="416" name="ZoneTexte 415">
            <a:extLst>
              <a:ext uri="{FF2B5EF4-FFF2-40B4-BE49-F238E27FC236}">
                <a16:creationId xmlns:a16="http://schemas.microsoft.com/office/drawing/2014/main" id="{3C38B17D-0DEA-4A61-90D2-9E6092CC451F}"/>
              </a:ext>
            </a:extLst>
          </p:cNvPr>
          <p:cNvSpPr txBox="1"/>
          <p:nvPr/>
        </p:nvSpPr>
        <p:spPr>
          <a:xfrm>
            <a:off x="6443888" y="2469891"/>
            <a:ext cx="384437" cy="707886"/>
          </a:xfrm>
          <a:prstGeom prst="rect">
            <a:avLst/>
          </a:prstGeom>
          <a:noFill/>
        </p:spPr>
        <p:txBody>
          <a:bodyPr wrap="square" rtlCol="0">
            <a:spAutoFit/>
          </a:bodyPr>
          <a:lstStyle/>
          <a:p>
            <a:r>
              <a:rPr lang="fr-FR" sz="4000" b="1" dirty="0">
                <a:solidFill>
                  <a:srgbClr val="1B9D91"/>
                </a:solidFill>
              </a:rPr>
              <a:t>&lt;</a:t>
            </a:r>
          </a:p>
        </p:txBody>
      </p:sp>
      <p:sp>
        <p:nvSpPr>
          <p:cNvPr id="420" name="Rectangle 419">
            <a:extLst>
              <a:ext uri="{FF2B5EF4-FFF2-40B4-BE49-F238E27FC236}">
                <a16:creationId xmlns:a16="http://schemas.microsoft.com/office/drawing/2014/main" id="{4859AD07-34B2-46A7-8BF1-3571EA1E191E}"/>
              </a:ext>
            </a:extLst>
          </p:cNvPr>
          <p:cNvSpPr/>
          <p:nvPr/>
        </p:nvSpPr>
        <p:spPr>
          <a:xfrm>
            <a:off x="679249" y="1138765"/>
            <a:ext cx="3675862" cy="6217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dirty="0"/>
          </a:p>
        </p:txBody>
      </p:sp>
      <p:sp>
        <p:nvSpPr>
          <p:cNvPr id="422" name="ZoneTexte 421">
            <a:extLst>
              <a:ext uri="{FF2B5EF4-FFF2-40B4-BE49-F238E27FC236}">
                <a16:creationId xmlns:a16="http://schemas.microsoft.com/office/drawing/2014/main" id="{38C906C1-CD73-4CDF-89DA-ED78C94D126A}"/>
              </a:ext>
            </a:extLst>
          </p:cNvPr>
          <p:cNvSpPr txBox="1"/>
          <p:nvPr/>
        </p:nvSpPr>
        <p:spPr>
          <a:xfrm>
            <a:off x="5121478" y="1181775"/>
            <a:ext cx="3574808" cy="523220"/>
          </a:xfrm>
          <a:prstGeom prst="rect">
            <a:avLst/>
          </a:prstGeom>
          <a:noFill/>
        </p:spPr>
        <p:txBody>
          <a:bodyPr wrap="square" rtlCol="0">
            <a:spAutoFit/>
          </a:bodyPr>
          <a:lstStyle/>
          <a:p>
            <a:pPr algn="ctr"/>
            <a:r>
              <a:rPr lang="fr-FR" sz="1400" b="1" dirty="0">
                <a:solidFill>
                  <a:schemeClr val="tx2"/>
                </a:solidFill>
              </a:rPr>
              <a:t>Demi-produit inférieur </a:t>
            </a:r>
            <a:r>
              <a:rPr lang="fr-FR" sz="1400" dirty="0">
                <a:solidFill>
                  <a:schemeClr val="tx2"/>
                </a:solidFill>
              </a:rPr>
              <a:t>au prix marché avec </a:t>
            </a:r>
            <a:r>
              <a:rPr lang="fr-FR" sz="1400" b="1" dirty="0">
                <a:solidFill>
                  <a:schemeClr val="tx2"/>
                </a:solidFill>
              </a:rPr>
              <a:t>une reprise des chutes décotée</a:t>
            </a:r>
          </a:p>
        </p:txBody>
      </p:sp>
      <p:grpSp>
        <p:nvGrpSpPr>
          <p:cNvPr id="428" name="Group 10">
            <a:extLst>
              <a:ext uri="{FF2B5EF4-FFF2-40B4-BE49-F238E27FC236}">
                <a16:creationId xmlns:a16="http://schemas.microsoft.com/office/drawing/2014/main" id="{B47498F1-B6EE-4054-BEF0-41B280DE7AE5}"/>
              </a:ext>
            </a:extLst>
          </p:cNvPr>
          <p:cNvGrpSpPr>
            <a:grpSpLocks noChangeAspect="1"/>
          </p:cNvGrpSpPr>
          <p:nvPr/>
        </p:nvGrpSpPr>
        <p:grpSpPr>
          <a:xfrm rot="16200000">
            <a:off x="330988" y="1149754"/>
            <a:ext cx="360000" cy="360000"/>
            <a:chOff x="477582" y="2362623"/>
            <a:chExt cx="590158" cy="590158"/>
          </a:xfrm>
        </p:grpSpPr>
        <p:sp>
          <p:nvSpPr>
            <p:cNvPr id="429" name="Oval 14">
              <a:extLst>
                <a:ext uri="{FF2B5EF4-FFF2-40B4-BE49-F238E27FC236}">
                  <a16:creationId xmlns:a16="http://schemas.microsoft.com/office/drawing/2014/main" id="{6BD5D8FF-1EF4-4785-9C93-D8DEB00CCB2A}"/>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430" name="ChevronBlue 33">
              <a:extLst>
                <a:ext uri="{FF2B5EF4-FFF2-40B4-BE49-F238E27FC236}">
                  <a16:creationId xmlns:a16="http://schemas.microsoft.com/office/drawing/2014/main" id="{AD3891CB-3854-45D9-84BA-2FCF71136019}"/>
                </a:ext>
              </a:extLst>
            </p:cNvPr>
            <p:cNvGrpSpPr>
              <a:grpSpLocks noChangeAspect="1"/>
            </p:cNvGrpSpPr>
            <p:nvPr>
              <p:custDataLst>
                <p:tags r:id="rId7"/>
              </p:custDataLst>
            </p:nvPr>
          </p:nvGrpSpPr>
          <p:grpSpPr>
            <a:xfrm rot="5400000">
              <a:off x="554736" y="2439776"/>
              <a:ext cx="435851" cy="435851"/>
              <a:chOff x="1016000" y="1016000"/>
              <a:chExt cx="396228" cy="396228"/>
            </a:xfrm>
          </p:grpSpPr>
          <p:sp>
            <p:nvSpPr>
              <p:cNvPr id="431" name="Oval 16">
                <a:extLst>
                  <a:ext uri="{FF2B5EF4-FFF2-40B4-BE49-F238E27FC236}">
                    <a16:creationId xmlns:a16="http://schemas.microsoft.com/office/drawing/2014/main" id="{E37D401F-8534-4BE1-BFD8-F8139F1E0D83}"/>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32" name="Freeform: Shape 17">
                <a:extLst>
                  <a:ext uri="{FF2B5EF4-FFF2-40B4-BE49-F238E27FC236}">
                    <a16:creationId xmlns:a16="http://schemas.microsoft.com/office/drawing/2014/main" id="{CC8A0470-F5E7-46B1-9B96-B6D95F684872}"/>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433" name="Group 10">
            <a:extLst>
              <a:ext uri="{FF2B5EF4-FFF2-40B4-BE49-F238E27FC236}">
                <a16:creationId xmlns:a16="http://schemas.microsoft.com/office/drawing/2014/main" id="{9B3356F7-6783-4425-9C69-4FF392319C0B}"/>
              </a:ext>
            </a:extLst>
          </p:cNvPr>
          <p:cNvGrpSpPr>
            <a:grpSpLocks noChangeAspect="1"/>
          </p:cNvGrpSpPr>
          <p:nvPr/>
        </p:nvGrpSpPr>
        <p:grpSpPr>
          <a:xfrm rot="16200000">
            <a:off x="4978811" y="1158220"/>
            <a:ext cx="360000" cy="360000"/>
            <a:chOff x="477582" y="2362623"/>
            <a:chExt cx="590158" cy="590158"/>
          </a:xfrm>
        </p:grpSpPr>
        <p:sp>
          <p:nvSpPr>
            <p:cNvPr id="434" name="Oval 14">
              <a:extLst>
                <a:ext uri="{FF2B5EF4-FFF2-40B4-BE49-F238E27FC236}">
                  <a16:creationId xmlns:a16="http://schemas.microsoft.com/office/drawing/2014/main" id="{BD435A16-3155-4D6F-95DF-3A11AF8743A4}"/>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435" name="ChevronBlue 33">
              <a:extLst>
                <a:ext uri="{FF2B5EF4-FFF2-40B4-BE49-F238E27FC236}">
                  <a16:creationId xmlns:a16="http://schemas.microsoft.com/office/drawing/2014/main" id="{43A6F8A4-05F7-46A0-95D1-FC7452318D37}"/>
                </a:ext>
              </a:extLst>
            </p:cNvPr>
            <p:cNvGrpSpPr>
              <a:grpSpLocks noChangeAspect="1"/>
            </p:cNvGrpSpPr>
            <p:nvPr>
              <p:custDataLst>
                <p:tags r:id="rId6"/>
              </p:custDataLst>
            </p:nvPr>
          </p:nvGrpSpPr>
          <p:grpSpPr>
            <a:xfrm rot="5400000">
              <a:off x="554736" y="2439776"/>
              <a:ext cx="435851" cy="435851"/>
              <a:chOff x="1016000" y="1016000"/>
              <a:chExt cx="396228" cy="396228"/>
            </a:xfrm>
          </p:grpSpPr>
          <p:sp>
            <p:nvSpPr>
              <p:cNvPr id="436" name="Oval 16">
                <a:extLst>
                  <a:ext uri="{FF2B5EF4-FFF2-40B4-BE49-F238E27FC236}">
                    <a16:creationId xmlns:a16="http://schemas.microsoft.com/office/drawing/2014/main" id="{9BB62198-9199-49FC-8A89-6EBC3A9397C7}"/>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37" name="Freeform: Shape 17">
                <a:extLst>
                  <a:ext uri="{FF2B5EF4-FFF2-40B4-BE49-F238E27FC236}">
                    <a16:creationId xmlns:a16="http://schemas.microsoft.com/office/drawing/2014/main" id="{AC5A3E12-AEFC-4B3B-AA12-82FDF4EB4E77}"/>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443" name="Group 416">
            <a:extLst>
              <a:ext uri="{FF2B5EF4-FFF2-40B4-BE49-F238E27FC236}">
                <a16:creationId xmlns:a16="http://schemas.microsoft.com/office/drawing/2014/main" id="{7F540CCB-411C-4487-B1A5-719BC60A7A70}"/>
              </a:ext>
            </a:extLst>
          </p:cNvPr>
          <p:cNvGrpSpPr/>
          <p:nvPr/>
        </p:nvGrpSpPr>
        <p:grpSpPr>
          <a:xfrm>
            <a:off x="367018" y="5530425"/>
            <a:ext cx="287938" cy="353037"/>
            <a:chOff x="8105775" y="792163"/>
            <a:chExt cx="4016375" cy="4924425"/>
          </a:xfrm>
          <a:solidFill>
            <a:srgbClr val="1B9D91"/>
          </a:solidFill>
        </p:grpSpPr>
        <p:sp>
          <p:nvSpPr>
            <p:cNvPr id="444" name="Freeform 189">
              <a:extLst>
                <a:ext uri="{FF2B5EF4-FFF2-40B4-BE49-F238E27FC236}">
                  <a16:creationId xmlns:a16="http://schemas.microsoft.com/office/drawing/2014/main" id="{2465450B-0FF0-4055-A302-606723E8A0CA}"/>
                </a:ext>
              </a:extLst>
            </p:cNvPr>
            <p:cNvSpPr>
              <a:spLocks/>
            </p:cNvSpPr>
            <p:nvPr/>
          </p:nvSpPr>
          <p:spPr bwMode="auto">
            <a:xfrm>
              <a:off x="8105775" y="2678113"/>
              <a:ext cx="1222375" cy="244475"/>
            </a:xfrm>
            <a:custGeom>
              <a:avLst/>
              <a:gdLst>
                <a:gd name="T0" fmla="*/ 153 w 1541"/>
                <a:gd name="T1" fmla="*/ 0 h 307"/>
                <a:gd name="T2" fmla="*/ 1386 w 1541"/>
                <a:gd name="T3" fmla="*/ 0 h 307"/>
                <a:gd name="T4" fmla="*/ 1427 w 1541"/>
                <a:gd name="T5" fmla="*/ 5 h 307"/>
                <a:gd name="T6" fmla="*/ 1463 w 1541"/>
                <a:gd name="T7" fmla="*/ 20 h 307"/>
                <a:gd name="T8" fmla="*/ 1495 w 1541"/>
                <a:gd name="T9" fmla="*/ 45 h 307"/>
                <a:gd name="T10" fmla="*/ 1518 w 1541"/>
                <a:gd name="T11" fmla="*/ 75 h 307"/>
                <a:gd name="T12" fmla="*/ 1535 w 1541"/>
                <a:gd name="T13" fmla="*/ 113 h 307"/>
                <a:gd name="T14" fmla="*/ 1541 w 1541"/>
                <a:gd name="T15" fmla="*/ 152 h 307"/>
                <a:gd name="T16" fmla="*/ 1535 w 1541"/>
                <a:gd name="T17" fmla="*/ 194 h 307"/>
                <a:gd name="T18" fmla="*/ 1518 w 1541"/>
                <a:gd name="T19" fmla="*/ 230 h 307"/>
                <a:gd name="T20" fmla="*/ 1495 w 1541"/>
                <a:gd name="T21" fmla="*/ 262 h 307"/>
                <a:gd name="T22" fmla="*/ 1463 w 1541"/>
                <a:gd name="T23" fmla="*/ 286 h 307"/>
                <a:gd name="T24" fmla="*/ 1427 w 1541"/>
                <a:gd name="T25" fmla="*/ 302 h 307"/>
                <a:gd name="T26" fmla="*/ 1386 w 1541"/>
                <a:gd name="T27" fmla="*/ 307 h 307"/>
                <a:gd name="T28" fmla="*/ 153 w 1541"/>
                <a:gd name="T29" fmla="*/ 307 h 307"/>
                <a:gd name="T30" fmla="*/ 114 w 1541"/>
                <a:gd name="T31" fmla="*/ 302 h 307"/>
                <a:gd name="T32" fmla="*/ 76 w 1541"/>
                <a:gd name="T33" fmla="*/ 286 h 307"/>
                <a:gd name="T34" fmla="*/ 46 w 1541"/>
                <a:gd name="T35" fmla="*/ 262 h 307"/>
                <a:gd name="T36" fmla="*/ 21 w 1541"/>
                <a:gd name="T37" fmla="*/ 230 h 307"/>
                <a:gd name="T38" fmla="*/ 6 w 1541"/>
                <a:gd name="T39" fmla="*/ 194 h 307"/>
                <a:gd name="T40" fmla="*/ 0 w 1541"/>
                <a:gd name="T41" fmla="*/ 152 h 307"/>
                <a:gd name="T42" fmla="*/ 6 w 1541"/>
                <a:gd name="T43" fmla="*/ 113 h 307"/>
                <a:gd name="T44" fmla="*/ 21 w 1541"/>
                <a:gd name="T45" fmla="*/ 75 h 307"/>
                <a:gd name="T46" fmla="*/ 46 w 1541"/>
                <a:gd name="T47" fmla="*/ 45 h 307"/>
                <a:gd name="T48" fmla="*/ 76 w 1541"/>
                <a:gd name="T49" fmla="*/ 20 h 307"/>
                <a:gd name="T50" fmla="*/ 114 w 1541"/>
                <a:gd name="T51" fmla="*/ 5 h 307"/>
                <a:gd name="T52" fmla="*/ 153 w 1541"/>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1" h="307">
                  <a:moveTo>
                    <a:pt x="153" y="0"/>
                  </a:moveTo>
                  <a:lnTo>
                    <a:pt x="1386" y="0"/>
                  </a:lnTo>
                  <a:lnTo>
                    <a:pt x="1427" y="5"/>
                  </a:lnTo>
                  <a:lnTo>
                    <a:pt x="1463" y="20"/>
                  </a:lnTo>
                  <a:lnTo>
                    <a:pt x="1495" y="45"/>
                  </a:lnTo>
                  <a:lnTo>
                    <a:pt x="1518" y="75"/>
                  </a:lnTo>
                  <a:lnTo>
                    <a:pt x="1535" y="113"/>
                  </a:lnTo>
                  <a:lnTo>
                    <a:pt x="1541" y="152"/>
                  </a:lnTo>
                  <a:lnTo>
                    <a:pt x="1535" y="194"/>
                  </a:lnTo>
                  <a:lnTo>
                    <a:pt x="1518" y="230"/>
                  </a:lnTo>
                  <a:lnTo>
                    <a:pt x="1495" y="262"/>
                  </a:lnTo>
                  <a:lnTo>
                    <a:pt x="1463" y="286"/>
                  </a:lnTo>
                  <a:lnTo>
                    <a:pt x="1427" y="302"/>
                  </a:lnTo>
                  <a:lnTo>
                    <a:pt x="1386" y="307"/>
                  </a:lnTo>
                  <a:lnTo>
                    <a:pt x="153" y="307"/>
                  </a:lnTo>
                  <a:lnTo>
                    <a:pt x="114" y="302"/>
                  </a:lnTo>
                  <a:lnTo>
                    <a:pt x="76" y="286"/>
                  </a:lnTo>
                  <a:lnTo>
                    <a:pt x="46" y="262"/>
                  </a:lnTo>
                  <a:lnTo>
                    <a:pt x="21" y="230"/>
                  </a:lnTo>
                  <a:lnTo>
                    <a:pt x="6" y="194"/>
                  </a:lnTo>
                  <a:lnTo>
                    <a:pt x="0" y="152"/>
                  </a:lnTo>
                  <a:lnTo>
                    <a:pt x="6" y="113"/>
                  </a:lnTo>
                  <a:lnTo>
                    <a:pt x="21" y="75"/>
                  </a:lnTo>
                  <a:lnTo>
                    <a:pt x="46" y="45"/>
                  </a:lnTo>
                  <a:lnTo>
                    <a:pt x="76" y="20"/>
                  </a:lnTo>
                  <a:lnTo>
                    <a:pt x="114"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5" name="Freeform 190">
              <a:extLst>
                <a:ext uri="{FF2B5EF4-FFF2-40B4-BE49-F238E27FC236}">
                  <a16:creationId xmlns:a16="http://schemas.microsoft.com/office/drawing/2014/main" id="{1831DB5B-27ED-479A-B78A-3E24BF1831BA}"/>
                </a:ext>
              </a:extLst>
            </p:cNvPr>
            <p:cNvSpPr>
              <a:spLocks/>
            </p:cNvSpPr>
            <p:nvPr/>
          </p:nvSpPr>
          <p:spPr bwMode="auto">
            <a:xfrm>
              <a:off x="10899775" y="2678113"/>
              <a:ext cx="1222375" cy="244475"/>
            </a:xfrm>
            <a:custGeom>
              <a:avLst/>
              <a:gdLst>
                <a:gd name="T0" fmla="*/ 153 w 1540"/>
                <a:gd name="T1" fmla="*/ 0 h 307"/>
                <a:gd name="T2" fmla="*/ 1385 w 1540"/>
                <a:gd name="T3" fmla="*/ 0 h 307"/>
                <a:gd name="T4" fmla="*/ 1427 w 1540"/>
                <a:gd name="T5" fmla="*/ 5 h 307"/>
                <a:gd name="T6" fmla="*/ 1463 w 1540"/>
                <a:gd name="T7" fmla="*/ 20 h 307"/>
                <a:gd name="T8" fmla="*/ 1495 w 1540"/>
                <a:gd name="T9" fmla="*/ 45 h 307"/>
                <a:gd name="T10" fmla="*/ 1519 w 1540"/>
                <a:gd name="T11" fmla="*/ 75 h 307"/>
                <a:gd name="T12" fmla="*/ 1535 w 1540"/>
                <a:gd name="T13" fmla="*/ 113 h 307"/>
                <a:gd name="T14" fmla="*/ 1540 w 1540"/>
                <a:gd name="T15" fmla="*/ 152 h 307"/>
                <a:gd name="T16" fmla="*/ 1535 w 1540"/>
                <a:gd name="T17" fmla="*/ 194 h 307"/>
                <a:gd name="T18" fmla="*/ 1518 w 1540"/>
                <a:gd name="T19" fmla="*/ 230 h 307"/>
                <a:gd name="T20" fmla="*/ 1495 w 1540"/>
                <a:gd name="T21" fmla="*/ 262 h 307"/>
                <a:gd name="T22" fmla="*/ 1463 w 1540"/>
                <a:gd name="T23" fmla="*/ 286 h 307"/>
                <a:gd name="T24" fmla="*/ 1427 w 1540"/>
                <a:gd name="T25" fmla="*/ 302 h 307"/>
                <a:gd name="T26" fmla="*/ 1385 w 1540"/>
                <a:gd name="T27" fmla="*/ 307 h 307"/>
                <a:gd name="T28" fmla="*/ 153 w 1540"/>
                <a:gd name="T29" fmla="*/ 307 h 307"/>
                <a:gd name="T30" fmla="*/ 113 w 1540"/>
                <a:gd name="T31" fmla="*/ 302 h 307"/>
                <a:gd name="T32" fmla="*/ 75 w 1540"/>
                <a:gd name="T33" fmla="*/ 286 h 307"/>
                <a:gd name="T34" fmla="*/ 45 w 1540"/>
                <a:gd name="T35" fmla="*/ 262 h 307"/>
                <a:gd name="T36" fmla="*/ 21 w 1540"/>
                <a:gd name="T37" fmla="*/ 230 h 307"/>
                <a:gd name="T38" fmla="*/ 6 w 1540"/>
                <a:gd name="T39" fmla="*/ 194 h 307"/>
                <a:gd name="T40" fmla="*/ 0 w 1540"/>
                <a:gd name="T41" fmla="*/ 152 h 307"/>
                <a:gd name="T42" fmla="*/ 6 w 1540"/>
                <a:gd name="T43" fmla="*/ 113 h 307"/>
                <a:gd name="T44" fmla="*/ 21 w 1540"/>
                <a:gd name="T45" fmla="*/ 75 h 307"/>
                <a:gd name="T46" fmla="*/ 45 w 1540"/>
                <a:gd name="T47" fmla="*/ 45 h 307"/>
                <a:gd name="T48" fmla="*/ 75 w 1540"/>
                <a:gd name="T49" fmla="*/ 20 h 307"/>
                <a:gd name="T50" fmla="*/ 113 w 1540"/>
                <a:gd name="T51" fmla="*/ 5 h 307"/>
                <a:gd name="T52" fmla="*/ 153 w 1540"/>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0" h="307">
                  <a:moveTo>
                    <a:pt x="153" y="0"/>
                  </a:moveTo>
                  <a:lnTo>
                    <a:pt x="1385" y="0"/>
                  </a:lnTo>
                  <a:lnTo>
                    <a:pt x="1427" y="5"/>
                  </a:lnTo>
                  <a:lnTo>
                    <a:pt x="1463" y="20"/>
                  </a:lnTo>
                  <a:lnTo>
                    <a:pt x="1495" y="45"/>
                  </a:lnTo>
                  <a:lnTo>
                    <a:pt x="1519" y="75"/>
                  </a:lnTo>
                  <a:lnTo>
                    <a:pt x="1535" y="113"/>
                  </a:lnTo>
                  <a:lnTo>
                    <a:pt x="1540" y="152"/>
                  </a:lnTo>
                  <a:lnTo>
                    <a:pt x="1535" y="194"/>
                  </a:lnTo>
                  <a:lnTo>
                    <a:pt x="1518" y="230"/>
                  </a:lnTo>
                  <a:lnTo>
                    <a:pt x="1495" y="262"/>
                  </a:lnTo>
                  <a:lnTo>
                    <a:pt x="1463" y="286"/>
                  </a:lnTo>
                  <a:lnTo>
                    <a:pt x="1427" y="302"/>
                  </a:lnTo>
                  <a:lnTo>
                    <a:pt x="1385" y="307"/>
                  </a:lnTo>
                  <a:lnTo>
                    <a:pt x="153" y="307"/>
                  </a:lnTo>
                  <a:lnTo>
                    <a:pt x="113" y="302"/>
                  </a:lnTo>
                  <a:lnTo>
                    <a:pt x="75" y="286"/>
                  </a:lnTo>
                  <a:lnTo>
                    <a:pt x="45" y="262"/>
                  </a:lnTo>
                  <a:lnTo>
                    <a:pt x="21" y="230"/>
                  </a:lnTo>
                  <a:lnTo>
                    <a:pt x="6" y="194"/>
                  </a:lnTo>
                  <a:lnTo>
                    <a:pt x="0" y="152"/>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6" name="Freeform 191">
              <a:extLst>
                <a:ext uri="{FF2B5EF4-FFF2-40B4-BE49-F238E27FC236}">
                  <a16:creationId xmlns:a16="http://schemas.microsoft.com/office/drawing/2014/main" id="{80216A20-F196-4FCA-9FF1-63CA29121B59}"/>
                </a:ext>
              </a:extLst>
            </p:cNvPr>
            <p:cNvSpPr>
              <a:spLocks/>
            </p:cNvSpPr>
            <p:nvPr/>
          </p:nvSpPr>
          <p:spPr bwMode="auto">
            <a:xfrm>
              <a:off x="9991725" y="792163"/>
              <a:ext cx="244475" cy="1222375"/>
            </a:xfrm>
            <a:custGeom>
              <a:avLst/>
              <a:gdLst>
                <a:gd name="T0" fmla="*/ 153 w 308"/>
                <a:gd name="T1" fmla="*/ 0 h 1540"/>
                <a:gd name="T2" fmla="*/ 194 w 308"/>
                <a:gd name="T3" fmla="*/ 5 h 1540"/>
                <a:gd name="T4" fmla="*/ 230 w 308"/>
                <a:gd name="T5" fmla="*/ 20 h 1540"/>
                <a:gd name="T6" fmla="*/ 262 w 308"/>
                <a:gd name="T7" fmla="*/ 45 h 1540"/>
                <a:gd name="T8" fmla="*/ 285 w 308"/>
                <a:gd name="T9" fmla="*/ 75 h 1540"/>
                <a:gd name="T10" fmla="*/ 302 w 308"/>
                <a:gd name="T11" fmla="*/ 113 h 1540"/>
                <a:gd name="T12" fmla="*/ 308 w 308"/>
                <a:gd name="T13" fmla="*/ 154 h 1540"/>
                <a:gd name="T14" fmla="*/ 308 w 308"/>
                <a:gd name="T15" fmla="*/ 1385 h 1540"/>
                <a:gd name="T16" fmla="*/ 302 w 308"/>
                <a:gd name="T17" fmla="*/ 1426 h 1540"/>
                <a:gd name="T18" fmla="*/ 285 w 308"/>
                <a:gd name="T19" fmla="*/ 1462 h 1540"/>
                <a:gd name="T20" fmla="*/ 262 w 308"/>
                <a:gd name="T21" fmla="*/ 1494 h 1540"/>
                <a:gd name="T22" fmla="*/ 230 w 308"/>
                <a:gd name="T23" fmla="*/ 1519 h 1540"/>
                <a:gd name="T24" fmla="*/ 194 w 308"/>
                <a:gd name="T25" fmla="*/ 1534 h 1540"/>
                <a:gd name="T26" fmla="*/ 153 w 308"/>
                <a:gd name="T27" fmla="*/ 1540 h 1540"/>
                <a:gd name="T28" fmla="*/ 113 w 308"/>
                <a:gd name="T29" fmla="*/ 1534 h 1540"/>
                <a:gd name="T30" fmla="*/ 75 w 308"/>
                <a:gd name="T31" fmla="*/ 1519 h 1540"/>
                <a:gd name="T32" fmla="*/ 45 w 308"/>
                <a:gd name="T33" fmla="*/ 1494 h 1540"/>
                <a:gd name="T34" fmla="*/ 21 w 308"/>
                <a:gd name="T35" fmla="*/ 1462 h 1540"/>
                <a:gd name="T36" fmla="*/ 6 w 308"/>
                <a:gd name="T37" fmla="*/ 1426 h 1540"/>
                <a:gd name="T38" fmla="*/ 0 w 308"/>
                <a:gd name="T39" fmla="*/ 1385 h 1540"/>
                <a:gd name="T40" fmla="*/ 0 w 308"/>
                <a:gd name="T41" fmla="*/ 154 h 1540"/>
                <a:gd name="T42" fmla="*/ 6 w 308"/>
                <a:gd name="T43" fmla="*/ 113 h 1540"/>
                <a:gd name="T44" fmla="*/ 21 w 308"/>
                <a:gd name="T45" fmla="*/ 75 h 1540"/>
                <a:gd name="T46" fmla="*/ 45 w 308"/>
                <a:gd name="T47" fmla="*/ 45 h 1540"/>
                <a:gd name="T48" fmla="*/ 75 w 308"/>
                <a:gd name="T49" fmla="*/ 20 h 1540"/>
                <a:gd name="T50" fmla="*/ 113 w 308"/>
                <a:gd name="T51" fmla="*/ 5 h 1540"/>
                <a:gd name="T52" fmla="*/ 153 w 308"/>
                <a:gd name="T53" fmla="*/ 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8" h="1540">
                  <a:moveTo>
                    <a:pt x="153" y="0"/>
                  </a:moveTo>
                  <a:lnTo>
                    <a:pt x="194" y="5"/>
                  </a:lnTo>
                  <a:lnTo>
                    <a:pt x="230" y="20"/>
                  </a:lnTo>
                  <a:lnTo>
                    <a:pt x="262" y="45"/>
                  </a:lnTo>
                  <a:lnTo>
                    <a:pt x="285" y="75"/>
                  </a:lnTo>
                  <a:lnTo>
                    <a:pt x="302" y="113"/>
                  </a:lnTo>
                  <a:lnTo>
                    <a:pt x="308" y="154"/>
                  </a:lnTo>
                  <a:lnTo>
                    <a:pt x="308" y="1385"/>
                  </a:lnTo>
                  <a:lnTo>
                    <a:pt x="302" y="1426"/>
                  </a:lnTo>
                  <a:lnTo>
                    <a:pt x="285" y="1462"/>
                  </a:lnTo>
                  <a:lnTo>
                    <a:pt x="262" y="1494"/>
                  </a:lnTo>
                  <a:lnTo>
                    <a:pt x="230" y="1519"/>
                  </a:lnTo>
                  <a:lnTo>
                    <a:pt x="194" y="1534"/>
                  </a:lnTo>
                  <a:lnTo>
                    <a:pt x="153" y="1540"/>
                  </a:lnTo>
                  <a:lnTo>
                    <a:pt x="113" y="1534"/>
                  </a:lnTo>
                  <a:lnTo>
                    <a:pt x="75" y="1519"/>
                  </a:lnTo>
                  <a:lnTo>
                    <a:pt x="45" y="1494"/>
                  </a:lnTo>
                  <a:lnTo>
                    <a:pt x="21" y="1462"/>
                  </a:lnTo>
                  <a:lnTo>
                    <a:pt x="6" y="1426"/>
                  </a:lnTo>
                  <a:lnTo>
                    <a:pt x="0" y="1385"/>
                  </a:lnTo>
                  <a:lnTo>
                    <a:pt x="0" y="154"/>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7" name="Freeform 192">
              <a:extLst>
                <a:ext uri="{FF2B5EF4-FFF2-40B4-BE49-F238E27FC236}">
                  <a16:creationId xmlns:a16="http://schemas.microsoft.com/office/drawing/2014/main" id="{5A338127-C0B7-4ABD-B483-64C4853C80ED}"/>
                </a:ext>
              </a:extLst>
            </p:cNvPr>
            <p:cNvSpPr>
              <a:spLocks/>
            </p:cNvSpPr>
            <p:nvPr/>
          </p:nvSpPr>
          <p:spPr bwMode="auto">
            <a:xfrm>
              <a:off x="10633075" y="1344613"/>
              <a:ext cx="936625" cy="936625"/>
            </a:xfrm>
            <a:custGeom>
              <a:avLst/>
              <a:gdLst>
                <a:gd name="T0" fmla="*/ 1044 w 1180"/>
                <a:gd name="T1" fmla="*/ 0 h 1179"/>
                <a:gd name="T2" fmla="*/ 1076 w 1180"/>
                <a:gd name="T3" fmla="*/ 8 h 1179"/>
                <a:gd name="T4" fmla="*/ 1108 w 1180"/>
                <a:gd name="T5" fmla="*/ 23 h 1179"/>
                <a:gd name="T6" fmla="*/ 1134 w 1180"/>
                <a:gd name="T7" fmla="*/ 43 h 1179"/>
                <a:gd name="T8" fmla="*/ 1157 w 1180"/>
                <a:gd name="T9" fmla="*/ 72 h 1179"/>
                <a:gd name="T10" fmla="*/ 1172 w 1180"/>
                <a:gd name="T11" fmla="*/ 104 h 1179"/>
                <a:gd name="T12" fmla="*/ 1180 w 1180"/>
                <a:gd name="T13" fmla="*/ 136 h 1179"/>
                <a:gd name="T14" fmla="*/ 1180 w 1180"/>
                <a:gd name="T15" fmla="*/ 170 h 1179"/>
                <a:gd name="T16" fmla="*/ 1172 w 1180"/>
                <a:gd name="T17" fmla="*/ 202 h 1179"/>
                <a:gd name="T18" fmla="*/ 1157 w 1180"/>
                <a:gd name="T19" fmla="*/ 234 h 1179"/>
                <a:gd name="T20" fmla="*/ 1134 w 1180"/>
                <a:gd name="T21" fmla="*/ 262 h 1179"/>
                <a:gd name="T22" fmla="*/ 262 w 1180"/>
                <a:gd name="T23" fmla="*/ 1134 h 1179"/>
                <a:gd name="T24" fmla="*/ 230 w 1180"/>
                <a:gd name="T25" fmla="*/ 1159 h 1179"/>
                <a:gd name="T26" fmla="*/ 192 w 1180"/>
                <a:gd name="T27" fmla="*/ 1174 h 1179"/>
                <a:gd name="T28" fmla="*/ 153 w 1180"/>
                <a:gd name="T29" fmla="*/ 1179 h 1179"/>
                <a:gd name="T30" fmla="*/ 124 w 1180"/>
                <a:gd name="T31" fmla="*/ 1176 h 1179"/>
                <a:gd name="T32" fmla="*/ 96 w 1180"/>
                <a:gd name="T33" fmla="*/ 1168 h 1179"/>
                <a:gd name="T34" fmla="*/ 70 w 1180"/>
                <a:gd name="T35" fmla="*/ 1153 h 1179"/>
                <a:gd name="T36" fmla="*/ 45 w 1180"/>
                <a:gd name="T37" fmla="*/ 1134 h 1179"/>
                <a:gd name="T38" fmla="*/ 23 w 1180"/>
                <a:gd name="T39" fmla="*/ 1106 h 1179"/>
                <a:gd name="T40" fmla="*/ 7 w 1180"/>
                <a:gd name="T41" fmla="*/ 1076 h 1179"/>
                <a:gd name="T42" fmla="*/ 0 w 1180"/>
                <a:gd name="T43" fmla="*/ 1042 h 1179"/>
                <a:gd name="T44" fmla="*/ 0 w 1180"/>
                <a:gd name="T45" fmla="*/ 1008 h 1179"/>
                <a:gd name="T46" fmla="*/ 7 w 1180"/>
                <a:gd name="T47" fmla="*/ 976 h 1179"/>
                <a:gd name="T48" fmla="*/ 23 w 1180"/>
                <a:gd name="T49" fmla="*/ 944 h 1179"/>
                <a:gd name="T50" fmla="*/ 45 w 1180"/>
                <a:gd name="T51" fmla="*/ 917 h 1179"/>
                <a:gd name="T52" fmla="*/ 917 w 1180"/>
                <a:gd name="T53" fmla="*/ 43 h 1179"/>
                <a:gd name="T54" fmla="*/ 946 w 1180"/>
                <a:gd name="T55" fmla="*/ 23 h 1179"/>
                <a:gd name="T56" fmla="*/ 976 w 1180"/>
                <a:gd name="T57" fmla="*/ 8 h 1179"/>
                <a:gd name="T58" fmla="*/ 1010 w 1180"/>
                <a:gd name="T59" fmla="*/ 0 h 1179"/>
                <a:gd name="T60" fmla="*/ 1044 w 1180"/>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80" h="1179">
                  <a:moveTo>
                    <a:pt x="1044" y="0"/>
                  </a:moveTo>
                  <a:lnTo>
                    <a:pt x="1076" y="8"/>
                  </a:lnTo>
                  <a:lnTo>
                    <a:pt x="1108" y="23"/>
                  </a:lnTo>
                  <a:lnTo>
                    <a:pt x="1134" y="43"/>
                  </a:lnTo>
                  <a:lnTo>
                    <a:pt x="1157" y="72"/>
                  </a:lnTo>
                  <a:lnTo>
                    <a:pt x="1172" y="104"/>
                  </a:lnTo>
                  <a:lnTo>
                    <a:pt x="1180" y="136"/>
                  </a:lnTo>
                  <a:lnTo>
                    <a:pt x="1180" y="170"/>
                  </a:lnTo>
                  <a:lnTo>
                    <a:pt x="1172" y="202"/>
                  </a:lnTo>
                  <a:lnTo>
                    <a:pt x="1157" y="234"/>
                  </a:lnTo>
                  <a:lnTo>
                    <a:pt x="1134" y="262"/>
                  </a:lnTo>
                  <a:lnTo>
                    <a:pt x="262" y="1134"/>
                  </a:lnTo>
                  <a:lnTo>
                    <a:pt x="230" y="1159"/>
                  </a:lnTo>
                  <a:lnTo>
                    <a:pt x="192" y="1174"/>
                  </a:lnTo>
                  <a:lnTo>
                    <a:pt x="153" y="1179"/>
                  </a:lnTo>
                  <a:lnTo>
                    <a:pt x="124" y="1176"/>
                  </a:lnTo>
                  <a:lnTo>
                    <a:pt x="96" y="1168"/>
                  </a:lnTo>
                  <a:lnTo>
                    <a:pt x="70" y="1153"/>
                  </a:lnTo>
                  <a:lnTo>
                    <a:pt x="45" y="1134"/>
                  </a:lnTo>
                  <a:lnTo>
                    <a:pt x="23" y="1106"/>
                  </a:lnTo>
                  <a:lnTo>
                    <a:pt x="7" y="1076"/>
                  </a:lnTo>
                  <a:lnTo>
                    <a:pt x="0" y="1042"/>
                  </a:lnTo>
                  <a:lnTo>
                    <a:pt x="0" y="1008"/>
                  </a:lnTo>
                  <a:lnTo>
                    <a:pt x="7" y="976"/>
                  </a:lnTo>
                  <a:lnTo>
                    <a:pt x="23" y="944"/>
                  </a:lnTo>
                  <a:lnTo>
                    <a:pt x="45" y="917"/>
                  </a:lnTo>
                  <a:lnTo>
                    <a:pt x="917" y="43"/>
                  </a:lnTo>
                  <a:lnTo>
                    <a:pt x="946" y="23"/>
                  </a:lnTo>
                  <a:lnTo>
                    <a:pt x="976" y="8"/>
                  </a:lnTo>
                  <a:lnTo>
                    <a:pt x="1010" y="0"/>
                  </a:lnTo>
                  <a:lnTo>
                    <a:pt x="10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8" name="Freeform 193">
              <a:extLst>
                <a:ext uri="{FF2B5EF4-FFF2-40B4-BE49-F238E27FC236}">
                  <a16:creationId xmlns:a16="http://schemas.microsoft.com/office/drawing/2014/main" id="{AFCF0568-B47C-401D-A203-5E7C7440F082}"/>
                </a:ext>
              </a:extLst>
            </p:cNvPr>
            <p:cNvSpPr>
              <a:spLocks/>
            </p:cNvSpPr>
            <p:nvPr/>
          </p:nvSpPr>
          <p:spPr bwMode="auto">
            <a:xfrm>
              <a:off x="8658225" y="1344613"/>
              <a:ext cx="935038" cy="936625"/>
            </a:xfrm>
            <a:custGeom>
              <a:avLst/>
              <a:gdLst>
                <a:gd name="T0" fmla="*/ 170 w 1178"/>
                <a:gd name="T1" fmla="*/ 0 h 1179"/>
                <a:gd name="T2" fmla="*/ 202 w 1178"/>
                <a:gd name="T3" fmla="*/ 8 h 1179"/>
                <a:gd name="T4" fmla="*/ 234 w 1178"/>
                <a:gd name="T5" fmla="*/ 23 h 1179"/>
                <a:gd name="T6" fmla="*/ 262 w 1178"/>
                <a:gd name="T7" fmla="*/ 43 h 1179"/>
                <a:gd name="T8" fmla="*/ 1134 w 1178"/>
                <a:gd name="T9" fmla="*/ 917 h 1179"/>
                <a:gd name="T10" fmla="*/ 1155 w 1178"/>
                <a:gd name="T11" fmla="*/ 944 h 1179"/>
                <a:gd name="T12" fmla="*/ 1170 w 1178"/>
                <a:gd name="T13" fmla="*/ 976 h 1179"/>
                <a:gd name="T14" fmla="*/ 1178 w 1178"/>
                <a:gd name="T15" fmla="*/ 1008 h 1179"/>
                <a:gd name="T16" fmla="*/ 1178 w 1178"/>
                <a:gd name="T17" fmla="*/ 1042 h 1179"/>
                <a:gd name="T18" fmla="*/ 1170 w 1178"/>
                <a:gd name="T19" fmla="*/ 1076 h 1179"/>
                <a:gd name="T20" fmla="*/ 1155 w 1178"/>
                <a:gd name="T21" fmla="*/ 1106 h 1179"/>
                <a:gd name="T22" fmla="*/ 1134 w 1178"/>
                <a:gd name="T23" fmla="*/ 1134 h 1179"/>
                <a:gd name="T24" fmla="*/ 1100 w 1178"/>
                <a:gd name="T25" fmla="*/ 1159 h 1179"/>
                <a:gd name="T26" fmla="*/ 1065 w 1178"/>
                <a:gd name="T27" fmla="*/ 1174 h 1179"/>
                <a:gd name="T28" fmla="*/ 1025 w 1178"/>
                <a:gd name="T29" fmla="*/ 1179 h 1179"/>
                <a:gd name="T30" fmla="*/ 995 w 1178"/>
                <a:gd name="T31" fmla="*/ 1176 h 1179"/>
                <a:gd name="T32" fmla="*/ 966 w 1178"/>
                <a:gd name="T33" fmla="*/ 1168 h 1179"/>
                <a:gd name="T34" fmla="*/ 940 w 1178"/>
                <a:gd name="T35" fmla="*/ 1153 h 1179"/>
                <a:gd name="T36" fmla="*/ 915 w 1178"/>
                <a:gd name="T37" fmla="*/ 1134 h 1179"/>
                <a:gd name="T38" fmla="*/ 43 w 1178"/>
                <a:gd name="T39" fmla="*/ 262 h 1179"/>
                <a:gd name="T40" fmla="*/ 21 w 1178"/>
                <a:gd name="T41" fmla="*/ 234 h 1179"/>
                <a:gd name="T42" fmla="*/ 7 w 1178"/>
                <a:gd name="T43" fmla="*/ 202 h 1179"/>
                <a:gd name="T44" fmla="*/ 0 w 1178"/>
                <a:gd name="T45" fmla="*/ 170 h 1179"/>
                <a:gd name="T46" fmla="*/ 0 w 1178"/>
                <a:gd name="T47" fmla="*/ 136 h 1179"/>
                <a:gd name="T48" fmla="*/ 7 w 1178"/>
                <a:gd name="T49" fmla="*/ 104 h 1179"/>
                <a:gd name="T50" fmla="*/ 21 w 1178"/>
                <a:gd name="T51" fmla="*/ 72 h 1179"/>
                <a:gd name="T52" fmla="*/ 43 w 1178"/>
                <a:gd name="T53" fmla="*/ 43 h 1179"/>
                <a:gd name="T54" fmla="*/ 72 w 1178"/>
                <a:gd name="T55" fmla="*/ 23 h 1179"/>
                <a:gd name="T56" fmla="*/ 102 w 1178"/>
                <a:gd name="T57" fmla="*/ 8 h 1179"/>
                <a:gd name="T58" fmla="*/ 136 w 1178"/>
                <a:gd name="T59" fmla="*/ 0 h 1179"/>
                <a:gd name="T60" fmla="*/ 170 w 1178"/>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8" h="1179">
                  <a:moveTo>
                    <a:pt x="170" y="0"/>
                  </a:moveTo>
                  <a:lnTo>
                    <a:pt x="202" y="8"/>
                  </a:lnTo>
                  <a:lnTo>
                    <a:pt x="234" y="23"/>
                  </a:lnTo>
                  <a:lnTo>
                    <a:pt x="262" y="43"/>
                  </a:lnTo>
                  <a:lnTo>
                    <a:pt x="1134" y="917"/>
                  </a:lnTo>
                  <a:lnTo>
                    <a:pt x="1155" y="944"/>
                  </a:lnTo>
                  <a:lnTo>
                    <a:pt x="1170" y="976"/>
                  </a:lnTo>
                  <a:lnTo>
                    <a:pt x="1178" y="1008"/>
                  </a:lnTo>
                  <a:lnTo>
                    <a:pt x="1178" y="1042"/>
                  </a:lnTo>
                  <a:lnTo>
                    <a:pt x="1170" y="1076"/>
                  </a:lnTo>
                  <a:lnTo>
                    <a:pt x="1155" y="1106"/>
                  </a:lnTo>
                  <a:lnTo>
                    <a:pt x="1134" y="1134"/>
                  </a:lnTo>
                  <a:lnTo>
                    <a:pt x="1100" y="1159"/>
                  </a:lnTo>
                  <a:lnTo>
                    <a:pt x="1065" y="1174"/>
                  </a:lnTo>
                  <a:lnTo>
                    <a:pt x="1025" y="1179"/>
                  </a:lnTo>
                  <a:lnTo>
                    <a:pt x="995" y="1176"/>
                  </a:lnTo>
                  <a:lnTo>
                    <a:pt x="966" y="1168"/>
                  </a:lnTo>
                  <a:lnTo>
                    <a:pt x="940" y="1153"/>
                  </a:lnTo>
                  <a:lnTo>
                    <a:pt x="915" y="1134"/>
                  </a:lnTo>
                  <a:lnTo>
                    <a:pt x="43" y="262"/>
                  </a:lnTo>
                  <a:lnTo>
                    <a:pt x="21" y="234"/>
                  </a:lnTo>
                  <a:lnTo>
                    <a:pt x="7" y="202"/>
                  </a:lnTo>
                  <a:lnTo>
                    <a:pt x="0" y="170"/>
                  </a:lnTo>
                  <a:lnTo>
                    <a:pt x="0" y="136"/>
                  </a:lnTo>
                  <a:lnTo>
                    <a:pt x="7" y="104"/>
                  </a:lnTo>
                  <a:lnTo>
                    <a:pt x="21" y="72"/>
                  </a:lnTo>
                  <a:lnTo>
                    <a:pt x="43" y="43"/>
                  </a:lnTo>
                  <a:lnTo>
                    <a:pt x="72" y="23"/>
                  </a:lnTo>
                  <a:lnTo>
                    <a:pt x="102" y="8"/>
                  </a:lnTo>
                  <a:lnTo>
                    <a:pt x="136" y="0"/>
                  </a:lnTo>
                  <a:lnTo>
                    <a:pt x="1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9" name="Freeform 194">
              <a:extLst>
                <a:ext uri="{FF2B5EF4-FFF2-40B4-BE49-F238E27FC236}">
                  <a16:creationId xmlns:a16="http://schemas.microsoft.com/office/drawing/2014/main" id="{681B9FA2-0B9E-46C9-86C1-85CC001FBA52}"/>
                </a:ext>
              </a:extLst>
            </p:cNvPr>
            <p:cNvSpPr>
              <a:spLocks noEditPoints="1"/>
            </p:cNvSpPr>
            <p:nvPr/>
          </p:nvSpPr>
          <p:spPr bwMode="auto">
            <a:xfrm>
              <a:off x="8272463" y="2347913"/>
              <a:ext cx="3489325" cy="3368675"/>
            </a:xfrm>
            <a:custGeom>
              <a:avLst/>
              <a:gdLst>
                <a:gd name="T0" fmla="*/ 307 w 4394"/>
                <a:gd name="T1" fmla="*/ 1901 h 4245"/>
                <a:gd name="T2" fmla="*/ 315 w 4394"/>
                <a:gd name="T3" fmla="*/ 3826 h 4245"/>
                <a:gd name="T4" fmla="*/ 912 w 4394"/>
                <a:gd name="T5" fmla="*/ 3816 h 4245"/>
                <a:gd name="T6" fmla="*/ 902 w 4394"/>
                <a:gd name="T7" fmla="*/ 1891 h 4245"/>
                <a:gd name="T8" fmla="*/ 2139 w 4394"/>
                <a:gd name="T9" fmla="*/ 933 h 4245"/>
                <a:gd name="T10" fmla="*/ 2063 w 4394"/>
                <a:gd name="T11" fmla="*/ 1306 h 4245"/>
                <a:gd name="T12" fmla="*/ 1842 w 4394"/>
                <a:gd name="T13" fmla="*/ 1627 h 4245"/>
                <a:gd name="T14" fmla="*/ 1561 w 4394"/>
                <a:gd name="T15" fmla="*/ 1841 h 4245"/>
                <a:gd name="T16" fmla="*/ 1357 w 4394"/>
                <a:gd name="T17" fmla="*/ 1941 h 4245"/>
                <a:gd name="T18" fmla="*/ 1242 w 4394"/>
                <a:gd name="T19" fmla="*/ 1982 h 4245"/>
                <a:gd name="T20" fmla="*/ 1219 w 4394"/>
                <a:gd name="T21" fmla="*/ 1988 h 4245"/>
                <a:gd name="T22" fmla="*/ 1238 w 4394"/>
                <a:gd name="T23" fmla="*/ 3711 h 4245"/>
                <a:gd name="T24" fmla="*/ 1385 w 4394"/>
                <a:gd name="T25" fmla="*/ 3890 h 4245"/>
                <a:gd name="T26" fmla="*/ 3392 w 4394"/>
                <a:gd name="T27" fmla="*/ 3937 h 4245"/>
                <a:gd name="T28" fmla="*/ 3634 w 4394"/>
                <a:gd name="T29" fmla="*/ 3894 h 4245"/>
                <a:gd name="T30" fmla="*/ 3768 w 4394"/>
                <a:gd name="T31" fmla="*/ 3794 h 4245"/>
                <a:gd name="T32" fmla="*/ 3826 w 4394"/>
                <a:gd name="T33" fmla="*/ 3675 h 4245"/>
                <a:gd name="T34" fmla="*/ 3843 w 4394"/>
                <a:gd name="T35" fmla="*/ 3582 h 4245"/>
                <a:gd name="T36" fmla="*/ 4087 w 4394"/>
                <a:gd name="T37" fmla="*/ 2046 h 4245"/>
                <a:gd name="T38" fmla="*/ 4032 w 4394"/>
                <a:gd name="T39" fmla="*/ 1848 h 4245"/>
                <a:gd name="T40" fmla="*/ 3864 w 4394"/>
                <a:gd name="T41" fmla="*/ 1710 h 4245"/>
                <a:gd name="T42" fmla="*/ 2676 w 4394"/>
                <a:gd name="T43" fmla="*/ 1684 h 4245"/>
                <a:gd name="T44" fmla="*/ 2569 w 4394"/>
                <a:gd name="T45" fmla="*/ 1576 h 4245"/>
                <a:gd name="T46" fmla="*/ 2554 w 4394"/>
                <a:gd name="T47" fmla="*/ 610 h 4245"/>
                <a:gd name="T48" fmla="*/ 2463 w 4394"/>
                <a:gd name="T49" fmla="*/ 401 h 4245"/>
                <a:gd name="T50" fmla="*/ 2282 w 4394"/>
                <a:gd name="T51" fmla="*/ 312 h 4245"/>
                <a:gd name="T52" fmla="*/ 2233 w 4394"/>
                <a:gd name="T53" fmla="*/ 0 h 4245"/>
                <a:gd name="T54" fmla="*/ 2484 w 4394"/>
                <a:gd name="T55" fmla="*/ 51 h 4245"/>
                <a:gd name="T56" fmla="*/ 2712 w 4394"/>
                <a:gd name="T57" fmla="*/ 219 h 4245"/>
                <a:gd name="T58" fmla="*/ 2843 w 4394"/>
                <a:gd name="T59" fmla="*/ 493 h 4245"/>
                <a:gd name="T60" fmla="*/ 2871 w 4394"/>
                <a:gd name="T61" fmla="*/ 1384 h 4245"/>
                <a:gd name="T62" fmla="*/ 3971 w 4394"/>
                <a:gd name="T63" fmla="*/ 1423 h 4245"/>
                <a:gd name="T64" fmla="*/ 4221 w 4394"/>
                <a:gd name="T65" fmla="*/ 1591 h 4245"/>
                <a:gd name="T66" fmla="*/ 4366 w 4394"/>
                <a:gd name="T67" fmla="*/ 1848 h 4245"/>
                <a:gd name="T68" fmla="*/ 4387 w 4394"/>
                <a:gd name="T69" fmla="*/ 2148 h 4245"/>
                <a:gd name="T70" fmla="*/ 4075 w 4394"/>
                <a:gd name="T71" fmla="*/ 3873 h 4245"/>
                <a:gd name="T72" fmla="*/ 3864 w 4394"/>
                <a:gd name="T73" fmla="*/ 4117 h 4245"/>
                <a:gd name="T74" fmla="*/ 3567 w 4394"/>
                <a:gd name="T75" fmla="*/ 4230 h 4245"/>
                <a:gd name="T76" fmla="*/ 1470 w 4394"/>
                <a:gd name="T77" fmla="*/ 4237 h 4245"/>
                <a:gd name="T78" fmla="*/ 1168 w 4394"/>
                <a:gd name="T79" fmla="*/ 4113 h 4245"/>
                <a:gd name="T80" fmla="*/ 959 w 4394"/>
                <a:gd name="T81" fmla="*/ 4128 h 4245"/>
                <a:gd name="T82" fmla="*/ 206 w 4394"/>
                <a:gd name="T83" fmla="*/ 4113 h 4245"/>
                <a:gd name="T84" fmla="*/ 43 w 4394"/>
                <a:gd name="T85" fmla="*/ 3975 h 4245"/>
                <a:gd name="T86" fmla="*/ 0 w 4394"/>
                <a:gd name="T87" fmla="*/ 1901 h 4245"/>
                <a:gd name="T88" fmla="*/ 73 w 4394"/>
                <a:gd name="T89" fmla="*/ 1697 h 4245"/>
                <a:gd name="T90" fmla="*/ 258 w 4394"/>
                <a:gd name="T91" fmla="*/ 1590 h 4245"/>
                <a:gd name="T92" fmla="*/ 1008 w 4394"/>
                <a:gd name="T93" fmla="*/ 1603 h 4245"/>
                <a:gd name="T94" fmla="*/ 1153 w 4394"/>
                <a:gd name="T95" fmla="*/ 1686 h 4245"/>
                <a:gd name="T96" fmla="*/ 1255 w 4394"/>
                <a:gd name="T97" fmla="*/ 1648 h 4245"/>
                <a:gd name="T98" fmla="*/ 1451 w 4394"/>
                <a:gd name="T99" fmla="*/ 1544 h 4245"/>
                <a:gd name="T100" fmla="*/ 1704 w 4394"/>
                <a:gd name="T101" fmla="*/ 1318 h 4245"/>
                <a:gd name="T102" fmla="*/ 1827 w 4394"/>
                <a:gd name="T103" fmla="*/ 1016 h 4245"/>
                <a:gd name="T104" fmla="*/ 1852 w 4394"/>
                <a:gd name="T105" fmla="*/ 108 h 4245"/>
                <a:gd name="T106" fmla="*/ 1948 w 4394"/>
                <a:gd name="T107" fmla="*/ 34 h 4245"/>
                <a:gd name="T108" fmla="*/ 2072 w 4394"/>
                <a:gd name="T109" fmla="*/ 8 h 4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94" h="4245">
                  <a:moveTo>
                    <a:pt x="315" y="1891"/>
                  </a:moveTo>
                  <a:lnTo>
                    <a:pt x="311" y="1891"/>
                  </a:lnTo>
                  <a:lnTo>
                    <a:pt x="307" y="1895"/>
                  </a:lnTo>
                  <a:lnTo>
                    <a:pt x="307" y="1901"/>
                  </a:lnTo>
                  <a:lnTo>
                    <a:pt x="307" y="3816"/>
                  </a:lnTo>
                  <a:lnTo>
                    <a:pt x="307" y="3820"/>
                  </a:lnTo>
                  <a:lnTo>
                    <a:pt x="311" y="3824"/>
                  </a:lnTo>
                  <a:lnTo>
                    <a:pt x="315" y="3826"/>
                  </a:lnTo>
                  <a:lnTo>
                    <a:pt x="902" y="3826"/>
                  </a:lnTo>
                  <a:lnTo>
                    <a:pt x="908" y="3824"/>
                  </a:lnTo>
                  <a:lnTo>
                    <a:pt x="910" y="3820"/>
                  </a:lnTo>
                  <a:lnTo>
                    <a:pt x="912" y="3816"/>
                  </a:lnTo>
                  <a:lnTo>
                    <a:pt x="912" y="1901"/>
                  </a:lnTo>
                  <a:lnTo>
                    <a:pt x="910" y="1895"/>
                  </a:lnTo>
                  <a:lnTo>
                    <a:pt x="908" y="1891"/>
                  </a:lnTo>
                  <a:lnTo>
                    <a:pt x="902" y="1891"/>
                  </a:lnTo>
                  <a:lnTo>
                    <a:pt x="315" y="1891"/>
                  </a:lnTo>
                  <a:close/>
                  <a:moveTo>
                    <a:pt x="2184" y="306"/>
                  </a:moveTo>
                  <a:lnTo>
                    <a:pt x="2139" y="310"/>
                  </a:lnTo>
                  <a:lnTo>
                    <a:pt x="2139" y="933"/>
                  </a:lnTo>
                  <a:lnTo>
                    <a:pt x="2135" y="1029"/>
                  </a:lnTo>
                  <a:lnTo>
                    <a:pt x="2120" y="1125"/>
                  </a:lnTo>
                  <a:lnTo>
                    <a:pt x="2097" y="1218"/>
                  </a:lnTo>
                  <a:lnTo>
                    <a:pt x="2063" y="1306"/>
                  </a:lnTo>
                  <a:lnTo>
                    <a:pt x="2021" y="1391"/>
                  </a:lnTo>
                  <a:lnTo>
                    <a:pt x="1970" y="1474"/>
                  </a:lnTo>
                  <a:lnTo>
                    <a:pt x="1910" y="1552"/>
                  </a:lnTo>
                  <a:lnTo>
                    <a:pt x="1842" y="1627"/>
                  </a:lnTo>
                  <a:lnTo>
                    <a:pt x="1763" y="1697"/>
                  </a:lnTo>
                  <a:lnTo>
                    <a:pt x="1678" y="1765"/>
                  </a:lnTo>
                  <a:lnTo>
                    <a:pt x="1619" y="1805"/>
                  </a:lnTo>
                  <a:lnTo>
                    <a:pt x="1561" y="1841"/>
                  </a:lnTo>
                  <a:lnTo>
                    <a:pt x="1504" y="1871"/>
                  </a:lnTo>
                  <a:lnTo>
                    <a:pt x="1451" y="1897"/>
                  </a:lnTo>
                  <a:lnTo>
                    <a:pt x="1402" y="1922"/>
                  </a:lnTo>
                  <a:lnTo>
                    <a:pt x="1357" y="1941"/>
                  </a:lnTo>
                  <a:lnTo>
                    <a:pt x="1317" y="1956"/>
                  </a:lnTo>
                  <a:lnTo>
                    <a:pt x="1283" y="1967"/>
                  </a:lnTo>
                  <a:lnTo>
                    <a:pt x="1259" y="1976"/>
                  </a:lnTo>
                  <a:lnTo>
                    <a:pt x="1242" y="1982"/>
                  </a:lnTo>
                  <a:lnTo>
                    <a:pt x="1234" y="1984"/>
                  </a:lnTo>
                  <a:lnTo>
                    <a:pt x="1231" y="1984"/>
                  </a:lnTo>
                  <a:lnTo>
                    <a:pt x="1229" y="1984"/>
                  </a:lnTo>
                  <a:lnTo>
                    <a:pt x="1219" y="1988"/>
                  </a:lnTo>
                  <a:lnTo>
                    <a:pt x="1219" y="3633"/>
                  </a:lnTo>
                  <a:lnTo>
                    <a:pt x="1221" y="3643"/>
                  </a:lnTo>
                  <a:lnTo>
                    <a:pt x="1223" y="3652"/>
                  </a:lnTo>
                  <a:lnTo>
                    <a:pt x="1238" y="3711"/>
                  </a:lnTo>
                  <a:lnTo>
                    <a:pt x="1263" y="3766"/>
                  </a:lnTo>
                  <a:lnTo>
                    <a:pt x="1297" y="3815"/>
                  </a:lnTo>
                  <a:lnTo>
                    <a:pt x="1338" y="3856"/>
                  </a:lnTo>
                  <a:lnTo>
                    <a:pt x="1385" y="3890"/>
                  </a:lnTo>
                  <a:lnTo>
                    <a:pt x="1438" y="3917"/>
                  </a:lnTo>
                  <a:lnTo>
                    <a:pt x="1495" y="3932"/>
                  </a:lnTo>
                  <a:lnTo>
                    <a:pt x="1555" y="3937"/>
                  </a:lnTo>
                  <a:lnTo>
                    <a:pt x="3392" y="3937"/>
                  </a:lnTo>
                  <a:lnTo>
                    <a:pt x="3464" y="3935"/>
                  </a:lnTo>
                  <a:lnTo>
                    <a:pt x="3528" y="3926"/>
                  </a:lnTo>
                  <a:lnTo>
                    <a:pt x="3584" y="3913"/>
                  </a:lnTo>
                  <a:lnTo>
                    <a:pt x="3634" y="3894"/>
                  </a:lnTo>
                  <a:lnTo>
                    <a:pt x="3675" y="3873"/>
                  </a:lnTo>
                  <a:lnTo>
                    <a:pt x="3711" y="3849"/>
                  </a:lnTo>
                  <a:lnTo>
                    <a:pt x="3743" y="3822"/>
                  </a:lnTo>
                  <a:lnTo>
                    <a:pt x="3768" y="3794"/>
                  </a:lnTo>
                  <a:lnTo>
                    <a:pt x="3788" y="3764"/>
                  </a:lnTo>
                  <a:lnTo>
                    <a:pt x="3803" y="3733"/>
                  </a:lnTo>
                  <a:lnTo>
                    <a:pt x="3817" y="3703"/>
                  </a:lnTo>
                  <a:lnTo>
                    <a:pt x="3826" y="3675"/>
                  </a:lnTo>
                  <a:lnTo>
                    <a:pt x="3834" y="3647"/>
                  </a:lnTo>
                  <a:lnTo>
                    <a:pt x="3839" y="3622"/>
                  </a:lnTo>
                  <a:lnTo>
                    <a:pt x="3841" y="3599"/>
                  </a:lnTo>
                  <a:lnTo>
                    <a:pt x="3843" y="3582"/>
                  </a:lnTo>
                  <a:lnTo>
                    <a:pt x="3845" y="3579"/>
                  </a:lnTo>
                  <a:lnTo>
                    <a:pt x="3845" y="3575"/>
                  </a:lnTo>
                  <a:lnTo>
                    <a:pt x="4083" y="2099"/>
                  </a:lnTo>
                  <a:lnTo>
                    <a:pt x="4087" y="2046"/>
                  </a:lnTo>
                  <a:lnTo>
                    <a:pt x="4083" y="1993"/>
                  </a:lnTo>
                  <a:lnTo>
                    <a:pt x="4073" y="1942"/>
                  </a:lnTo>
                  <a:lnTo>
                    <a:pt x="4056" y="1895"/>
                  </a:lnTo>
                  <a:lnTo>
                    <a:pt x="4032" y="1848"/>
                  </a:lnTo>
                  <a:lnTo>
                    <a:pt x="4002" y="1807"/>
                  </a:lnTo>
                  <a:lnTo>
                    <a:pt x="3966" y="1771"/>
                  </a:lnTo>
                  <a:lnTo>
                    <a:pt x="3917" y="1737"/>
                  </a:lnTo>
                  <a:lnTo>
                    <a:pt x="3864" y="1710"/>
                  </a:lnTo>
                  <a:lnTo>
                    <a:pt x="3809" y="1695"/>
                  </a:lnTo>
                  <a:lnTo>
                    <a:pt x="3752" y="1690"/>
                  </a:lnTo>
                  <a:lnTo>
                    <a:pt x="2718" y="1690"/>
                  </a:lnTo>
                  <a:lnTo>
                    <a:pt x="2676" y="1684"/>
                  </a:lnTo>
                  <a:lnTo>
                    <a:pt x="2641" y="1669"/>
                  </a:lnTo>
                  <a:lnTo>
                    <a:pt x="2609" y="1644"/>
                  </a:lnTo>
                  <a:lnTo>
                    <a:pt x="2586" y="1614"/>
                  </a:lnTo>
                  <a:lnTo>
                    <a:pt x="2569" y="1576"/>
                  </a:lnTo>
                  <a:lnTo>
                    <a:pt x="2565" y="1537"/>
                  </a:lnTo>
                  <a:lnTo>
                    <a:pt x="2565" y="761"/>
                  </a:lnTo>
                  <a:lnTo>
                    <a:pt x="2561" y="682"/>
                  </a:lnTo>
                  <a:lnTo>
                    <a:pt x="2554" y="610"/>
                  </a:lnTo>
                  <a:lnTo>
                    <a:pt x="2539" y="546"/>
                  </a:lnTo>
                  <a:lnTo>
                    <a:pt x="2520" y="489"/>
                  </a:lnTo>
                  <a:lnTo>
                    <a:pt x="2493" y="440"/>
                  </a:lnTo>
                  <a:lnTo>
                    <a:pt x="2463" y="401"/>
                  </a:lnTo>
                  <a:lnTo>
                    <a:pt x="2425" y="367"/>
                  </a:lnTo>
                  <a:lnTo>
                    <a:pt x="2380" y="340"/>
                  </a:lnTo>
                  <a:lnTo>
                    <a:pt x="2333" y="321"/>
                  </a:lnTo>
                  <a:lnTo>
                    <a:pt x="2282" y="312"/>
                  </a:lnTo>
                  <a:lnTo>
                    <a:pt x="2231" y="306"/>
                  </a:lnTo>
                  <a:lnTo>
                    <a:pt x="2184" y="306"/>
                  </a:lnTo>
                  <a:close/>
                  <a:moveTo>
                    <a:pt x="2176" y="0"/>
                  </a:moveTo>
                  <a:lnTo>
                    <a:pt x="2233" y="0"/>
                  </a:lnTo>
                  <a:lnTo>
                    <a:pt x="2295" y="4"/>
                  </a:lnTo>
                  <a:lnTo>
                    <a:pt x="2357" y="14"/>
                  </a:lnTo>
                  <a:lnTo>
                    <a:pt x="2422" y="29"/>
                  </a:lnTo>
                  <a:lnTo>
                    <a:pt x="2484" y="51"/>
                  </a:lnTo>
                  <a:lnTo>
                    <a:pt x="2546" y="82"/>
                  </a:lnTo>
                  <a:lnTo>
                    <a:pt x="2609" y="119"/>
                  </a:lnTo>
                  <a:lnTo>
                    <a:pt x="2663" y="167"/>
                  </a:lnTo>
                  <a:lnTo>
                    <a:pt x="2712" y="219"/>
                  </a:lnTo>
                  <a:lnTo>
                    <a:pt x="2754" y="278"/>
                  </a:lnTo>
                  <a:lnTo>
                    <a:pt x="2790" y="344"/>
                  </a:lnTo>
                  <a:lnTo>
                    <a:pt x="2820" y="416"/>
                  </a:lnTo>
                  <a:lnTo>
                    <a:pt x="2843" y="493"/>
                  </a:lnTo>
                  <a:lnTo>
                    <a:pt x="2858" y="576"/>
                  </a:lnTo>
                  <a:lnTo>
                    <a:pt x="2869" y="667"/>
                  </a:lnTo>
                  <a:lnTo>
                    <a:pt x="2871" y="763"/>
                  </a:lnTo>
                  <a:lnTo>
                    <a:pt x="2871" y="1384"/>
                  </a:lnTo>
                  <a:lnTo>
                    <a:pt x="3752" y="1384"/>
                  </a:lnTo>
                  <a:lnTo>
                    <a:pt x="3826" y="1388"/>
                  </a:lnTo>
                  <a:lnTo>
                    <a:pt x="3900" y="1403"/>
                  </a:lnTo>
                  <a:lnTo>
                    <a:pt x="3971" y="1423"/>
                  </a:lnTo>
                  <a:lnTo>
                    <a:pt x="4039" y="1454"/>
                  </a:lnTo>
                  <a:lnTo>
                    <a:pt x="4105" y="1493"/>
                  </a:lnTo>
                  <a:lnTo>
                    <a:pt x="4166" y="1539"/>
                  </a:lnTo>
                  <a:lnTo>
                    <a:pt x="4221" y="1591"/>
                  </a:lnTo>
                  <a:lnTo>
                    <a:pt x="4268" y="1648"/>
                  </a:lnTo>
                  <a:lnTo>
                    <a:pt x="4307" y="1712"/>
                  </a:lnTo>
                  <a:lnTo>
                    <a:pt x="4341" y="1778"/>
                  </a:lnTo>
                  <a:lnTo>
                    <a:pt x="4366" y="1848"/>
                  </a:lnTo>
                  <a:lnTo>
                    <a:pt x="4383" y="1922"/>
                  </a:lnTo>
                  <a:lnTo>
                    <a:pt x="4392" y="1995"/>
                  </a:lnTo>
                  <a:lnTo>
                    <a:pt x="4394" y="2071"/>
                  </a:lnTo>
                  <a:lnTo>
                    <a:pt x="4387" y="2148"/>
                  </a:lnTo>
                  <a:lnTo>
                    <a:pt x="4149" y="3620"/>
                  </a:lnTo>
                  <a:lnTo>
                    <a:pt x="4132" y="3711"/>
                  </a:lnTo>
                  <a:lnTo>
                    <a:pt x="4107" y="3796"/>
                  </a:lnTo>
                  <a:lnTo>
                    <a:pt x="4075" y="3873"/>
                  </a:lnTo>
                  <a:lnTo>
                    <a:pt x="4034" y="3945"/>
                  </a:lnTo>
                  <a:lnTo>
                    <a:pt x="3985" y="4009"/>
                  </a:lnTo>
                  <a:lnTo>
                    <a:pt x="3928" y="4066"/>
                  </a:lnTo>
                  <a:lnTo>
                    <a:pt x="3864" y="4117"/>
                  </a:lnTo>
                  <a:lnTo>
                    <a:pt x="3798" y="4154"/>
                  </a:lnTo>
                  <a:lnTo>
                    <a:pt x="3726" y="4186"/>
                  </a:lnTo>
                  <a:lnTo>
                    <a:pt x="3651" y="4211"/>
                  </a:lnTo>
                  <a:lnTo>
                    <a:pt x="3567" y="4230"/>
                  </a:lnTo>
                  <a:lnTo>
                    <a:pt x="3483" y="4241"/>
                  </a:lnTo>
                  <a:lnTo>
                    <a:pt x="3392" y="4245"/>
                  </a:lnTo>
                  <a:lnTo>
                    <a:pt x="1555" y="4245"/>
                  </a:lnTo>
                  <a:lnTo>
                    <a:pt x="1470" y="4237"/>
                  </a:lnTo>
                  <a:lnTo>
                    <a:pt x="1389" y="4222"/>
                  </a:lnTo>
                  <a:lnTo>
                    <a:pt x="1310" y="4194"/>
                  </a:lnTo>
                  <a:lnTo>
                    <a:pt x="1236" y="4158"/>
                  </a:lnTo>
                  <a:lnTo>
                    <a:pt x="1168" y="4113"/>
                  </a:lnTo>
                  <a:lnTo>
                    <a:pt x="1106" y="4058"/>
                  </a:lnTo>
                  <a:lnTo>
                    <a:pt x="1061" y="4090"/>
                  </a:lnTo>
                  <a:lnTo>
                    <a:pt x="1012" y="4113"/>
                  </a:lnTo>
                  <a:lnTo>
                    <a:pt x="959" y="4128"/>
                  </a:lnTo>
                  <a:lnTo>
                    <a:pt x="902" y="4132"/>
                  </a:lnTo>
                  <a:lnTo>
                    <a:pt x="315" y="4132"/>
                  </a:lnTo>
                  <a:lnTo>
                    <a:pt x="258" y="4128"/>
                  </a:lnTo>
                  <a:lnTo>
                    <a:pt x="206" y="4113"/>
                  </a:lnTo>
                  <a:lnTo>
                    <a:pt x="156" y="4090"/>
                  </a:lnTo>
                  <a:lnTo>
                    <a:pt x="113" y="4058"/>
                  </a:lnTo>
                  <a:lnTo>
                    <a:pt x="73" y="4020"/>
                  </a:lnTo>
                  <a:lnTo>
                    <a:pt x="43" y="3975"/>
                  </a:lnTo>
                  <a:lnTo>
                    <a:pt x="19" y="3926"/>
                  </a:lnTo>
                  <a:lnTo>
                    <a:pt x="5" y="3873"/>
                  </a:lnTo>
                  <a:lnTo>
                    <a:pt x="0" y="3816"/>
                  </a:lnTo>
                  <a:lnTo>
                    <a:pt x="0" y="1901"/>
                  </a:lnTo>
                  <a:lnTo>
                    <a:pt x="5" y="1844"/>
                  </a:lnTo>
                  <a:lnTo>
                    <a:pt x="19" y="1790"/>
                  </a:lnTo>
                  <a:lnTo>
                    <a:pt x="43" y="1740"/>
                  </a:lnTo>
                  <a:lnTo>
                    <a:pt x="73" y="1697"/>
                  </a:lnTo>
                  <a:lnTo>
                    <a:pt x="113" y="1657"/>
                  </a:lnTo>
                  <a:lnTo>
                    <a:pt x="156" y="1627"/>
                  </a:lnTo>
                  <a:lnTo>
                    <a:pt x="206" y="1603"/>
                  </a:lnTo>
                  <a:lnTo>
                    <a:pt x="258" y="1590"/>
                  </a:lnTo>
                  <a:lnTo>
                    <a:pt x="315" y="1584"/>
                  </a:lnTo>
                  <a:lnTo>
                    <a:pt x="900" y="1584"/>
                  </a:lnTo>
                  <a:lnTo>
                    <a:pt x="955" y="1588"/>
                  </a:lnTo>
                  <a:lnTo>
                    <a:pt x="1008" y="1603"/>
                  </a:lnTo>
                  <a:lnTo>
                    <a:pt x="1057" y="1623"/>
                  </a:lnTo>
                  <a:lnTo>
                    <a:pt x="1100" y="1654"/>
                  </a:lnTo>
                  <a:lnTo>
                    <a:pt x="1136" y="1690"/>
                  </a:lnTo>
                  <a:lnTo>
                    <a:pt x="1153" y="1686"/>
                  </a:lnTo>
                  <a:lnTo>
                    <a:pt x="1164" y="1682"/>
                  </a:lnTo>
                  <a:lnTo>
                    <a:pt x="1187" y="1674"/>
                  </a:lnTo>
                  <a:lnTo>
                    <a:pt x="1217" y="1663"/>
                  </a:lnTo>
                  <a:lnTo>
                    <a:pt x="1255" y="1648"/>
                  </a:lnTo>
                  <a:lnTo>
                    <a:pt x="1298" y="1629"/>
                  </a:lnTo>
                  <a:lnTo>
                    <a:pt x="1346" y="1605"/>
                  </a:lnTo>
                  <a:lnTo>
                    <a:pt x="1399" y="1578"/>
                  </a:lnTo>
                  <a:lnTo>
                    <a:pt x="1451" y="1544"/>
                  </a:lnTo>
                  <a:lnTo>
                    <a:pt x="1506" y="1508"/>
                  </a:lnTo>
                  <a:lnTo>
                    <a:pt x="1582" y="1448"/>
                  </a:lnTo>
                  <a:lnTo>
                    <a:pt x="1648" y="1386"/>
                  </a:lnTo>
                  <a:lnTo>
                    <a:pt x="1704" y="1318"/>
                  </a:lnTo>
                  <a:lnTo>
                    <a:pt x="1750" y="1248"/>
                  </a:lnTo>
                  <a:lnTo>
                    <a:pt x="1786" y="1174"/>
                  </a:lnTo>
                  <a:lnTo>
                    <a:pt x="1810" y="1097"/>
                  </a:lnTo>
                  <a:lnTo>
                    <a:pt x="1827" y="1016"/>
                  </a:lnTo>
                  <a:lnTo>
                    <a:pt x="1831" y="933"/>
                  </a:lnTo>
                  <a:lnTo>
                    <a:pt x="1831" y="182"/>
                  </a:lnTo>
                  <a:lnTo>
                    <a:pt x="1836" y="144"/>
                  </a:lnTo>
                  <a:lnTo>
                    <a:pt x="1852" y="108"/>
                  </a:lnTo>
                  <a:lnTo>
                    <a:pt x="1874" y="78"/>
                  </a:lnTo>
                  <a:lnTo>
                    <a:pt x="1903" y="53"/>
                  </a:lnTo>
                  <a:lnTo>
                    <a:pt x="1938" y="36"/>
                  </a:lnTo>
                  <a:lnTo>
                    <a:pt x="1948" y="34"/>
                  </a:lnTo>
                  <a:lnTo>
                    <a:pt x="1967" y="29"/>
                  </a:lnTo>
                  <a:lnTo>
                    <a:pt x="1995" y="23"/>
                  </a:lnTo>
                  <a:lnTo>
                    <a:pt x="2031" y="16"/>
                  </a:lnTo>
                  <a:lnTo>
                    <a:pt x="2072" y="8"/>
                  </a:lnTo>
                  <a:lnTo>
                    <a:pt x="2122" y="4"/>
                  </a:lnTo>
                  <a:lnTo>
                    <a:pt x="21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450" name="Group 416">
            <a:extLst>
              <a:ext uri="{FF2B5EF4-FFF2-40B4-BE49-F238E27FC236}">
                <a16:creationId xmlns:a16="http://schemas.microsoft.com/office/drawing/2014/main" id="{F445D331-1E81-40EF-840C-2E78086874EF}"/>
              </a:ext>
            </a:extLst>
          </p:cNvPr>
          <p:cNvGrpSpPr/>
          <p:nvPr/>
        </p:nvGrpSpPr>
        <p:grpSpPr>
          <a:xfrm>
            <a:off x="5014842" y="5530425"/>
            <a:ext cx="287938" cy="353037"/>
            <a:chOff x="8105775" y="792163"/>
            <a:chExt cx="4016375" cy="4924425"/>
          </a:xfrm>
          <a:solidFill>
            <a:srgbClr val="1B9D91"/>
          </a:solidFill>
        </p:grpSpPr>
        <p:sp>
          <p:nvSpPr>
            <p:cNvPr id="451" name="Freeform 189">
              <a:extLst>
                <a:ext uri="{FF2B5EF4-FFF2-40B4-BE49-F238E27FC236}">
                  <a16:creationId xmlns:a16="http://schemas.microsoft.com/office/drawing/2014/main" id="{2EA7058C-CC23-4C5A-AF9D-7725441F9BCE}"/>
                </a:ext>
              </a:extLst>
            </p:cNvPr>
            <p:cNvSpPr>
              <a:spLocks/>
            </p:cNvSpPr>
            <p:nvPr/>
          </p:nvSpPr>
          <p:spPr bwMode="auto">
            <a:xfrm>
              <a:off x="8105775" y="2678113"/>
              <a:ext cx="1222375" cy="244475"/>
            </a:xfrm>
            <a:custGeom>
              <a:avLst/>
              <a:gdLst>
                <a:gd name="T0" fmla="*/ 153 w 1541"/>
                <a:gd name="T1" fmla="*/ 0 h 307"/>
                <a:gd name="T2" fmla="*/ 1386 w 1541"/>
                <a:gd name="T3" fmla="*/ 0 h 307"/>
                <a:gd name="T4" fmla="*/ 1427 w 1541"/>
                <a:gd name="T5" fmla="*/ 5 h 307"/>
                <a:gd name="T6" fmla="*/ 1463 w 1541"/>
                <a:gd name="T7" fmla="*/ 20 h 307"/>
                <a:gd name="T8" fmla="*/ 1495 w 1541"/>
                <a:gd name="T9" fmla="*/ 45 h 307"/>
                <a:gd name="T10" fmla="*/ 1518 w 1541"/>
                <a:gd name="T11" fmla="*/ 75 h 307"/>
                <a:gd name="T12" fmla="*/ 1535 w 1541"/>
                <a:gd name="T13" fmla="*/ 113 h 307"/>
                <a:gd name="T14" fmla="*/ 1541 w 1541"/>
                <a:gd name="T15" fmla="*/ 152 h 307"/>
                <a:gd name="T16" fmla="*/ 1535 w 1541"/>
                <a:gd name="T17" fmla="*/ 194 h 307"/>
                <a:gd name="T18" fmla="*/ 1518 w 1541"/>
                <a:gd name="T19" fmla="*/ 230 h 307"/>
                <a:gd name="T20" fmla="*/ 1495 w 1541"/>
                <a:gd name="T21" fmla="*/ 262 h 307"/>
                <a:gd name="T22" fmla="*/ 1463 w 1541"/>
                <a:gd name="T23" fmla="*/ 286 h 307"/>
                <a:gd name="T24" fmla="*/ 1427 w 1541"/>
                <a:gd name="T25" fmla="*/ 302 h 307"/>
                <a:gd name="T26" fmla="*/ 1386 w 1541"/>
                <a:gd name="T27" fmla="*/ 307 h 307"/>
                <a:gd name="T28" fmla="*/ 153 w 1541"/>
                <a:gd name="T29" fmla="*/ 307 h 307"/>
                <a:gd name="T30" fmla="*/ 114 w 1541"/>
                <a:gd name="T31" fmla="*/ 302 h 307"/>
                <a:gd name="T32" fmla="*/ 76 w 1541"/>
                <a:gd name="T33" fmla="*/ 286 h 307"/>
                <a:gd name="T34" fmla="*/ 46 w 1541"/>
                <a:gd name="T35" fmla="*/ 262 h 307"/>
                <a:gd name="T36" fmla="*/ 21 w 1541"/>
                <a:gd name="T37" fmla="*/ 230 h 307"/>
                <a:gd name="T38" fmla="*/ 6 w 1541"/>
                <a:gd name="T39" fmla="*/ 194 h 307"/>
                <a:gd name="T40" fmla="*/ 0 w 1541"/>
                <a:gd name="T41" fmla="*/ 152 h 307"/>
                <a:gd name="T42" fmla="*/ 6 w 1541"/>
                <a:gd name="T43" fmla="*/ 113 h 307"/>
                <a:gd name="T44" fmla="*/ 21 w 1541"/>
                <a:gd name="T45" fmla="*/ 75 h 307"/>
                <a:gd name="T46" fmla="*/ 46 w 1541"/>
                <a:gd name="T47" fmla="*/ 45 h 307"/>
                <a:gd name="T48" fmla="*/ 76 w 1541"/>
                <a:gd name="T49" fmla="*/ 20 h 307"/>
                <a:gd name="T50" fmla="*/ 114 w 1541"/>
                <a:gd name="T51" fmla="*/ 5 h 307"/>
                <a:gd name="T52" fmla="*/ 153 w 1541"/>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1" h="307">
                  <a:moveTo>
                    <a:pt x="153" y="0"/>
                  </a:moveTo>
                  <a:lnTo>
                    <a:pt x="1386" y="0"/>
                  </a:lnTo>
                  <a:lnTo>
                    <a:pt x="1427" y="5"/>
                  </a:lnTo>
                  <a:lnTo>
                    <a:pt x="1463" y="20"/>
                  </a:lnTo>
                  <a:lnTo>
                    <a:pt x="1495" y="45"/>
                  </a:lnTo>
                  <a:lnTo>
                    <a:pt x="1518" y="75"/>
                  </a:lnTo>
                  <a:lnTo>
                    <a:pt x="1535" y="113"/>
                  </a:lnTo>
                  <a:lnTo>
                    <a:pt x="1541" y="152"/>
                  </a:lnTo>
                  <a:lnTo>
                    <a:pt x="1535" y="194"/>
                  </a:lnTo>
                  <a:lnTo>
                    <a:pt x="1518" y="230"/>
                  </a:lnTo>
                  <a:lnTo>
                    <a:pt x="1495" y="262"/>
                  </a:lnTo>
                  <a:lnTo>
                    <a:pt x="1463" y="286"/>
                  </a:lnTo>
                  <a:lnTo>
                    <a:pt x="1427" y="302"/>
                  </a:lnTo>
                  <a:lnTo>
                    <a:pt x="1386" y="307"/>
                  </a:lnTo>
                  <a:lnTo>
                    <a:pt x="153" y="307"/>
                  </a:lnTo>
                  <a:lnTo>
                    <a:pt x="114" y="302"/>
                  </a:lnTo>
                  <a:lnTo>
                    <a:pt x="76" y="286"/>
                  </a:lnTo>
                  <a:lnTo>
                    <a:pt x="46" y="262"/>
                  </a:lnTo>
                  <a:lnTo>
                    <a:pt x="21" y="230"/>
                  </a:lnTo>
                  <a:lnTo>
                    <a:pt x="6" y="194"/>
                  </a:lnTo>
                  <a:lnTo>
                    <a:pt x="0" y="152"/>
                  </a:lnTo>
                  <a:lnTo>
                    <a:pt x="6" y="113"/>
                  </a:lnTo>
                  <a:lnTo>
                    <a:pt x="21" y="75"/>
                  </a:lnTo>
                  <a:lnTo>
                    <a:pt x="46" y="45"/>
                  </a:lnTo>
                  <a:lnTo>
                    <a:pt x="76" y="20"/>
                  </a:lnTo>
                  <a:lnTo>
                    <a:pt x="114"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2" name="Freeform 190">
              <a:extLst>
                <a:ext uri="{FF2B5EF4-FFF2-40B4-BE49-F238E27FC236}">
                  <a16:creationId xmlns:a16="http://schemas.microsoft.com/office/drawing/2014/main" id="{E8BDC25E-FBFA-400D-9FDE-CD95880968E3}"/>
                </a:ext>
              </a:extLst>
            </p:cNvPr>
            <p:cNvSpPr>
              <a:spLocks/>
            </p:cNvSpPr>
            <p:nvPr/>
          </p:nvSpPr>
          <p:spPr bwMode="auto">
            <a:xfrm>
              <a:off x="10899775" y="2678113"/>
              <a:ext cx="1222375" cy="244475"/>
            </a:xfrm>
            <a:custGeom>
              <a:avLst/>
              <a:gdLst>
                <a:gd name="T0" fmla="*/ 153 w 1540"/>
                <a:gd name="T1" fmla="*/ 0 h 307"/>
                <a:gd name="T2" fmla="*/ 1385 w 1540"/>
                <a:gd name="T3" fmla="*/ 0 h 307"/>
                <a:gd name="T4" fmla="*/ 1427 w 1540"/>
                <a:gd name="T5" fmla="*/ 5 h 307"/>
                <a:gd name="T6" fmla="*/ 1463 w 1540"/>
                <a:gd name="T7" fmla="*/ 20 h 307"/>
                <a:gd name="T8" fmla="*/ 1495 w 1540"/>
                <a:gd name="T9" fmla="*/ 45 h 307"/>
                <a:gd name="T10" fmla="*/ 1519 w 1540"/>
                <a:gd name="T11" fmla="*/ 75 h 307"/>
                <a:gd name="T12" fmla="*/ 1535 w 1540"/>
                <a:gd name="T13" fmla="*/ 113 h 307"/>
                <a:gd name="T14" fmla="*/ 1540 w 1540"/>
                <a:gd name="T15" fmla="*/ 152 h 307"/>
                <a:gd name="T16" fmla="*/ 1535 w 1540"/>
                <a:gd name="T17" fmla="*/ 194 h 307"/>
                <a:gd name="T18" fmla="*/ 1518 w 1540"/>
                <a:gd name="T19" fmla="*/ 230 h 307"/>
                <a:gd name="T20" fmla="*/ 1495 w 1540"/>
                <a:gd name="T21" fmla="*/ 262 h 307"/>
                <a:gd name="T22" fmla="*/ 1463 w 1540"/>
                <a:gd name="T23" fmla="*/ 286 h 307"/>
                <a:gd name="T24" fmla="*/ 1427 w 1540"/>
                <a:gd name="T25" fmla="*/ 302 h 307"/>
                <a:gd name="T26" fmla="*/ 1385 w 1540"/>
                <a:gd name="T27" fmla="*/ 307 h 307"/>
                <a:gd name="T28" fmla="*/ 153 w 1540"/>
                <a:gd name="T29" fmla="*/ 307 h 307"/>
                <a:gd name="T30" fmla="*/ 113 w 1540"/>
                <a:gd name="T31" fmla="*/ 302 h 307"/>
                <a:gd name="T32" fmla="*/ 75 w 1540"/>
                <a:gd name="T33" fmla="*/ 286 h 307"/>
                <a:gd name="T34" fmla="*/ 45 w 1540"/>
                <a:gd name="T35" fmla="*/ 262 h 307"/>
                <a:gd name="T36" fmla="*/ 21 w 1540"/>
                <a:gd name="T37" fmla="*/ 230 h 307"/>
                <a:gd name="T38" fmla="*/ 6 w 1540"/>
                <a:gd name="T39" fmla="*/ 194 h 307"/>
                <a:gd name="T40" fmla="*/ 0 w 1540"/>
                <a:gd name="T41" fmla="*/ 152 h 307"/>
                <a:gd name="T42" fmla="*/ 6 w 1540"/>
                <a:gd name="T43" fmla="*/ 113 h 307"/>
                <a:gd name="T44" fmla="*/ 21 w 1540"/>
                <a:gd name="T45" fmla="*/ 75 h 307"/>
                <a:gd name="T46" fmla="*/ 45 w 1540"/>
                <a:gd name="T47" fmla="*/ 45 h 307"/>
                <a:gd name="T48" fmla="*/ 75 w 1540"/>
                <a:gd name="T49" fmla="*/ 20 h 307"/>
                <a:gd name="T50" fmla="*/ 113 w 1540"/>
                <a:gd name="T51" fmla="*/ 5 h 307"/>
                <a:gd name="T52" fmla="*/ 153 w 1540"/>
                <a:gd name="T5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0" h="307">
                  <a:moveTo>
                    <a:pt x="153" y="0"/>
                  </a:moveTo>
                  <a:lnTo>
                    <a:pt x="1385" y="0"/>
                  </a:lnTo>
                  <a:lnTo>
                    <a:pt x="1427" y="5"/>
                  </a:lnTo>
                  <a:lnTo>
                    <a:pt x="1463" y="20"/>
                  </a:lnTo>
                  <a:lnTo>
                    <a:pt x="1495" y="45"/>
                  </a:lnTo>
                  <a:lnTo>
                    <a:pt x="1519" y="75"/>
                  </a:lnTo>
                  <a:lnTo>
                    <a:pt x="1535" y="113"/>
                  </a:lnTo>
                  <a:lnTo>
                    <a:pt x="1540" y="152"/>
                  </a:lnTo>
                  <a:lnTo>
                    <a:pt x="1535" y="194"/>
                  </a:lnTo>
                  <a:lnTo>
                    <a:pt x="1518" y="230"/>
                  </a:lnTo>
                  <a:lnTo>
                    <a:pt x="1495" y="262"/>
                  </a:lnTo>
                  <a:lnTo>
                    <a:pt x="1463" y="286"/>
                  </a:lnTo>
                  <a:lnTo>
                    <a:pt x="1427" y="302"/>
                  </a:lnTo>
                  <a:lnTo>
                    <a:pt x="1385" y="307"/>
                  </a:lnTo>
                  <a:lnTo>
                    <a:pt x="153" y="307"/>
                  </a:lnTo>
                  <a:lnTo>
                    <a:pt x="113" y="302"/>
                  </a:lnTo>
                  <a:lnTo>
                    <a:pt x="75" y="286"/>
                  </a:lnTo>
                  <a:lnTo>
                    <a:pt x="45" y="262"/>
                  </a:lnTo>
                  <a:lnTo>
                    <a:pt x="21" y="230"/>
                  </a:lnTo>
                  <a:lnTo>
                    <a:pt x="6" y="194"/>
                  </a:lnTo>
                  <a:lnTo>
                    <a:pt x="0" y="152"/>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3" name="Freeform 191">
              <a:extLst>
                <a:ext uri="{FF2B5EF4-FFF2-40B4-BE49-F238E27FC236}">
                  <a16:creationId xmlns:a16="http://schemas.microsoft.com/office/drawing/2014/main" id="{72F4ED40-7CFE-4424-973B-4951CF40B7C7}"/>
                </a:ext>
              </a:extLst>
            </p:cNvPr>
            <p:cNvSpPr>
              <a:spLocks/>
            </p:cNvSpPr>
            <p:nvPr/>
          </p:nvSpPr>
          <p:spPr bwMode="auto">
            <a:xfrm>
              <a:off x="9991725" y="792163"/>
              <a:ext cx="244475" cy="1222375"/>
            </a:xfrm>
            <a:custGeom>
              <a:avLst/>
              <a:gdLst>
                <a:gd name="T0" fmla="*/ 153 w 308"/>
                <a:gd name="T1" fmla="*/ 0 h 1540"/>
                <a:gd name="T2" fmla="*/ 194 w 308"/>
                <a:gd name="T3" fmla="*/ 5 h 1540"/>
                <a:gd name="T4" fmla="*/ 230 w 308"/>
                <a:gd name="T5" fmla="*/ 20 h 1540"/>
                <a:gd name="T6" fmla="*/ 262 w 308"/>
                <a:gd name="T7" fmla="*/ 45 h 1540"/>
                <a:gd name="T8" fmla="*/ 285 w 308"/>
                <a:gd name="T9" fmla="*/ 75 h 1540"/>
                <a:gd name="T10" fmla="*/ 302 w 308"/>
                <a:gd name="T11" fmla="*/ 113 h 1540"/>
                <a:gd name="T12" fmla="*/ 308 w 308"/>
                <a:gd name="T13" fmla="*/ 154 h 1540"/>
                <a:gd name="T14" fmla="*/ 308 w 308"/>
                <a:gd name="T15" fmla="*/ 1385 h 1540"/>
                <a:gd name="T16" fmla="*/ 302 w 308"/>
                <a:gd name="T17" fmla="*/ 1426 h 1540"/>
                <a:gd name="T18" fmla="*/ 285 w 308"/>
                <a:gd name="T19" fmla="*/ 1462 h 1540"/>
                <a:gd name="T20" fmla="*/ 262 w 308"/>
                <a:gd name="T21" fmla="*/ 1494 h 1540"/>
                <a:gd name="T22" fmla="*/ 230 w 308"/>
                <a:gd name="T23" fmla="*/ 1519 h 1540"/>
                <a:gd name="T24" fmla="*/ 194 w 308"/>
                <a:gd name="T25" fmla="*/ 1534 h 1540"/>
                <a:gd name="T26" fmla="*/ 153 w 308"/>
                <a:gd name="T27" fmla="*/ 1540 h 1540"/>
                <a:gd name="T28" fmla="*/ 113 w 308"/>
                <a:gd name="T29" fmla="*/ 1534 h 1540"/>
                <a:gd name="T30" fmla="*/ 75 w 308"/>
                <a:gd name="T31" fmla="*/ 1519 h 1540"/>
                <a:gd name="T32" fmla="*/ 45 w 308"/>
                <a:gd name="T33" fmla="*/ 1494 h 1540"/>
                <a:gd name="T34" fmla="*/ 21 w 308"/>
                <a:gd name="T35" fmla="*/ 1462 h 1540"/>
                <a:gd name="T36" fmla="*/ 6 w 308"/>
                <a:gd name="T37" fmla="*/ 1426 h 1540"/>
                <a:gd name="T38" fmla="*/ 0 w 308"/>
                <a:gd name="T39" fmla="*/ 1385 h 1540"/>
                <a:gd name="T40" fmla="*/ 0 w 308"/>
                <a:gd name="T41" fmla="*/ 154 h 1540"/>
                <a:gd name="T42" fmla="*/ 6 w 308"/>
                <a:gd name="T43" fmla="*/ 113 h 1540"/>
                <a:gd name="T44" fmla="*/ 21 w 308"/>
                <a:gd name="T45" fmla="*/ 75 h 1540"/>
                <a:gd name="T46" fmla="*/ 45 w 308"/>
                <a:gd name="T47" fmla="*/ 45 h 1540"/>
                <a:gd name="T48" fmla="*/ 75 w 308"/>
                <a:gd name="T49" fmla="*/ 20 h 1540"/>
                <a:gd name="T50" fmla="*/ 113 w 308"/>
                <a:gd name="T51" fmla="*/ 5 h 1540"/>
                <a:gd name="T52" fmla="*/ 153 w 308"/>
                <a:gd name="T53" fmla="*/ 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8" h="1540">
                  <a:moveTo>
                    <a:pt x="153" y="0"/>
                  </a:moveTo>
                  <a:lnTo>
                    <a:pt x="194" y="5"/>
                  </a:lnTo>
                  <a:lnTo>
                    <a:pt x="230" y="20"/>
                  </a:lnTo>
                  <a:lnTo>
                    <a:pt x="262" y="45"/>
                  </a:lnTo>
                  <a:lnTo>
                    <a:pt x="285" y="75"/>
                  </a:lnTo>
                  <a:lnTo>
                    <a:pt x="302" y="113"/>
                  </a:lnTo>
                  <a:lnTo>
                    <a:pt x="308" y="154"/>
                  </a:lnTo>
                  <a:lnTo>
                    <a:pt x="308" y="1385"/>
                  </a:lnTo>
                  <a:lnTo>
                    <a:pt x="302" y="1426"/>
                  </a:lnTo>
                  <a:lnTo>
                    <a:pt x="285" y="1462"/>
                  </a:lnTo>
                  <a:lnTo>
                    <a:pt x="262" y="1494"/>
                  </a:lnTo>
                  <a:lnTo>
                    <a:pt x="230" y="1519"/>
                  </a:lnTo>
                  <a:lnTo>
                    <a:pt x="194" y="1534"/>
                  </a:lnTo>
                  <a:lnTo>
                    <a:pt x="153" y="1540"/>
                  </a:lnTo>
                  <a:lnTo>
                    <a:pt x="113" y="1534"/>
                  </a:lnTo>
                  <a:lnTo>
                    <a:pt x="75" y="1519"/>
                  </a:lnTo>
                  <a:lnTo>
                    <a:pt x="45" y="1494"/>
                  </a:lnTo>
                  <a:lnTo>
                    <a:pt x="21" y="1462"/>
                  </a:lnTo>
                  <a:lnTo>
                    <a:pt x="6" y="1426"/>
                  </a:lnTo>
                  <a:lnTo>
                    <a:pt x="0" y="1385"/>
                  </a:lnTo>
                  <a:lnTo>
                    <a:pt x="0" y="154"/>
                  </a:lnTo>
                  <a:lnTo>
                    <a:pt x="6" y="113"/>
                  </a:lnTo>
                  <a:lnTo>
                    <a:pt x="21" y="75"/>
                  </a:lnTo>
                  <a:lnTo>
                    <a:pt x="45" y="45"/>
                  </a:lnTo>
                  <a:lnTo>
                    <a:pt x="75" y="20"/>
                  </a:lnTo>
                  <a:lnTo>
                    <a:pt x="113" y="5"/>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4" name="Freeform 192">
              <a:extLst>
                <a:ext uri="{FF2B5EF4-FFF2-40B4-BE49-F238E27FC236}">
                  <a16:creationId xmlns:a16="http://schemas.microsoft.com/office/drawing/2014/main" id="{CB09FB84-7D25-4526-AA7A-4EE953D47EA6}"/>
                </a:ext>
              </a:extLst>
            </p:cNvPr>
            <p:cNvSpPr>
              <a:spLocks/>
            </p:cNvSpPr>
            <p:nvPr/>
          </p:nvSpPr>
          <p:spPr bwMode="auto">
            <a:xfrm>
              <a:off x="10633075" y="1344613"/>
              <a:ext cx="936625" cy="936625"/>
            </a:xfrm>
            <a:custGeom>
              <a:avLst/>
              <a:gdLst>
                <a:gd name="T0" fmla="*/ 1044 w 1180"/>
                <a:gd name="T1" fmla="*/ 0 h 1179"/>
                <a:gd name="T2" fmla="*/ 1076 w 1180"/>
                <a:gd name="T3" fmla="*/ 8 h 1179"/>
                <a:gd name="T4" fmla="*/ 1108 w 1180"/>
                <a:gd name="T5" fmla="*/ 23 h 1179"/>
                <a:gd name="T6" fmla="*/ 1134 w 1180"/>
                <a:gd name="T7" fmla="*/ 43 h 1179"/>
                <a:gd name="T8" fmla="*/ 1157 w 1180"/>
                <a:gd name="T9" fmla="*/ 72 h 1179"/>
                <a:gd name="T10" fmla="*/ 1172 w 1180"/>
                <a:gd name="T11" fmla="*/ 104 h 1179"/>
                <a:gd name="T12" fmla="*/ 1180 w 1180"/>
                <a:gd name="T13" fmla="*/ 136 h 1179"/>
                <a:gd name="T14" fmla="*/ 1180 w 1180"/>
                <a:gd name="T15" fmla="*/ 170 h 1179"/>
                <a:gd name="T16" fmla="*/ 1172 w 1180"/>
                <a:gd name="T17" fmla="*/ 202 h 1179"/>
                <a:gd name="T18" fmla="*/ 1157 w 1180"/>
                <a:gd name="T19" fmla="*/ 234 h 1179"/>
                <a:gd name="T20" fmla="*/ 1134 w 1180"/>
                <a:gd name="T21" fmla="*/ 262 h 1179"/>
                <a:gd name="T22" fmla="*/ 262 w 1180"/>
                <a:gd name="T23" fmla="*/ 1134 h 1179"/>
                <a:gd name="T24" fmla="*/ 230 w 1180"/>
                <a:gd name="T25" fmla="*/ 1159 h 1179"/>
                <a:gd name="T26" fmla="*/ 192 w 1180"/>
                <a:gd name="T27" fmla="*/ 1174 h 1179"/>
                <a:gd name="T28" fmla="*/ 153 w 1180"/>
                <a:gd name="T29" fmla="*/ 1179 h 1179"/>
                <a:gd name="T30" fmla="*/ 124 w 1180"/>
                <a:gd name="T31" fmla="*/ 1176 h 1179"/>
                <a:gd name="T32" fmla="*/ 96 w 1180"/>
                <a:gd name="T33" fmla="*/ 1168 h 1179"/>
                <a:gd name="T34" fmla="*/ 70 w 1180"/>
                <a:gd name="T35" fmla="*/ 1153 h 1179"/>
                <a:gd name="T36" fmla="*/ 45 w 1180"/>
                <a:gd name="T37" fmla="*/ 1134 h 1179"/>
                <a:gd name="T38" fmla="*/ 23 w 1180"/>
                <a:gd name="T39" fmla="*/ 1106 h 1179"/>
                <a:gd name="T40" fmla="*/ 7 w 1180"/>
                <a:gd name="T41" fmla="*/ 1076 h 1179"/>
                <a:gd name="T42" fmla="*/ 0 w 1180"/>
                <a:gd name="T43" fmla="*/ 1042 h 1179"/>
                <a:gd name="T44" fmla="*/ 0 w 1180"/>
                <a:gd name="T45" fmla="*/ 1008 h 1179"/>
                <a:gd name="T46" fmla="*/ 7 w 1180"/>
                <a:gd name="T47" fmla="*/ 976 h 1179"/>
                <a:gd name="T48" fmla="*/ 23 w 1180"/>
                <a:gd name="T49" fmla="*/ 944 h 1179"/>
                <a:gd name="T50" fmla="*/ 45 w 1180"/>
                <a:gd name="T51" fmla="*/ 917 h 1179"/>
                <a:gd name="T52" fmla="*/ 917 w 1180"/>
                <a:gd name="T53" fmla="*/ 43 h 1179"/>
                <a:gd name="T54" fmla="*/ 946 w 1180"/>
                <a:gd name="T55" fmla="*/ 23 h 1179"/>
                <a:gd name="T56" fmla="*/ 976 w 1180"/>
                <a:gd name="T57" fmla="*/ 8 h 1179"/>
                <a:gd name="T58" fmla="*/ 1010 w 1180"/>
                <a:gd name="T59" fmla="*/ 0 h 1179"/>
                <a:gd name="T60" fmla="*/ 1044 w 1180"/>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80" h="1179">
                  <a:moveTo>
                    <a:pt x="1044" y="0"/>
                  </a:moveTo>
                  <a:lnTo>
                    <a:pt x="1076" y="8"/>
                  </a:lnTo>
                  <a:lnTo>
                    <a:pt x="1108" y="23"/>
                  </a:lnTo>
                  <a:lnTo>
                    <a:pt x="1134" y="43"/>
                  </a:lnTo>
                  <a:lnTo>
                    <a:pt x="1157" y="72"/>
                  </a:lnTo>
                  <a:lnTo>
                    <a:pt x="1172" y="104"/>
                  </a:lnTo>
                  <a:lnTo>
                    <a:pt x="1180" y="136"/>
                  </a:lnTo>
                  <a:lnTo>
                    <a:pt x="1180" y="170"/>
                  </a:lnTo>
                  <a:lnTo>
                    <a:pt x="1172" y="202"/>
                  </a:lnTo>
                  <a:lnTo>
                    <a:pt x="1157" y="234"/>
                  </a:lnTo>
                  <a:lnTo>
                    <a:pt x="1134" y="262"/>
                  </a:lnTo>
                  <a:lnTo>
                    <a:pt x="262" y="1134"/>
                  </a:lnTo>
                  <a:lnTo>
                    <a:pt x="230" y="1159"/>
                  </a:lnTo>
                  <a:lnTo>
                    <a:pt x="192" y="1174"/>
                  </a:lnTo>
                  <a:lnTo>
                    <a:pt x="153" y="1179"/>
                  </a:lnTo>
                  <a:lnTo>
                    <a:pt x="124" y="1176"/>
                  </a:lnTo>
                  <a:lnTo>
                    <a:pt x="96" y="1168"/>
                  </a:lnTo>
                  <a:lnTo>
                    <a:pt x="70" y="1153"/>
                  </a:lnTo>
                  <a:lnTo>
                    <a:pt x="45" y="1134"/>
                  </a:lnTo>
                  <a:lnTo>
                    <a:pt x="23" y="1106"/>
                  </a:lnTo>
                  <a:lnTo>
                    <a:pt x="7" y="1076"/>
                  </a:lnTo>
                  <a:lnTo>
                    <a:pt x="0" y="1042"/>
                  </a:lnTo>
                  <a:lnTo>
                    <a:pt x="0" y="1008"/>
                  </a:lnTo>
                  <a:lnTo>
                    <a:pt x="7" y="976"/>
                  </a:lnTo>
                  <a:lnTo>
                    <a:pt x="23" y="944"/>
                  </a:lnTo>
                  <a:lnTo>
                    <a:pt x="45" y="917"/>
                  </a:lnTo>
                  <a:lnTo>
                    <a:pt x="917" y="43"/>
                  </a:lnTo>
                  <a:lnTo>
                    <a:pt x="946" y="23"/>
                  </a:lnTo>
                  <a:lnTo>
                    <a:pt x="976" y="8"/>
                  </a:lnTo>
                  <a:lnTo>
                    <a:pt x="1010" y="0"/>
                  </a:lnTo>
                  <a:lnTo>
                    <a:pt x="10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5" name="Freeform 193">
              <a:extLst>
                <a:ext uri="{FF2B5EF4-FFF2-40B4-BE49-F238E27FC236}">
                  <a16:creationId xmlns:a16="http://schemas.microsoft.com/office/drawing/2014/main" id="{42E667FF-C5DD-43F7-BDBD-2EF074F9112B}"/>
                </a:ext>
              </a:extLst>
            </p:cNvPr>
            <p:cNvSpPr>
              <a:spLocks/>
            </p:cNvSpPr>
            <p:nvPr/>
          </p:nvSpPr>
          <p:spPr bwMode="auto">
            <a:xfrm>
              <a:off x="8658225" y="1344613"/>
              <a:ext cx="935038" cy="936625"/>
            </a:xfrm>
            <a:custGeom>
              <a:avLst/>
              <a:gdLst>
                <a:gd name="T0" fmla="*/ 170 w 1178"/>
                <a:gd name="T1" fmla="*/ 0 h 1179"/>
                <a:gd name="T2" fmla="*/ 202 w 1178"/>
                <a:gd name="T3" fmla="*/ 8 h 1179"/>
                <a:gd name="T4" fmla="*/ 234 w 1178"/>
                <a:gd name="T5" fmla="*/ 23 h 1179"/>
                <a:gd name="T6" fmla="*/ 262 w 1178"/>
                <a:gd name="T7" fmla="*/ 43 h 1179"/>
                <a:gd name="T8" fmla="*/ 1134 w 1178"/>
                <a:gd name="T9" fmla="*/ 917 h 1179"/>
                <a:gd name="T10" fmla="*/ 1155 w 1178"/>
                <a:gd name="T11" fmla="*/ 944 h 1179"/>
                <a:gd name="T12" fmla="*/ 1170 w 1178"/>
                <a:gd name="T13" fmla="*/ 976 h 1179"/>
                <a:gd name="T14" fmla="*/ 1178 w 1178"/>
                <a:gd name="T15" fmla="*/ 1008 h 1179"/>
                <a:gd name="T16" fmla="*/ 1178 w 1178"/>
                <a:gd name="T17" fmla="*/ 1042 h 1179"/>
                <a:gd name="T18" fmla="*/ 1170 w 1178"/>
                <a:gd name="T19" fmla="*/ 1076 h 1179"/>
                <a:gd name="T20" fmla="*/ 1155 w 1178"/>
                <a:gd name="T21" fmla="*/ 1106 h 1179"/>
                <a:gd name="T22" fmla="*/ 1134 w 1178"/>
                <a:gd name="T23" fmla="*/ 1134 h 1179"/>
                <a:gd name="T24" fmla="*/ 1100 w 1178"/>
                <a:gd name="T25" fmla="*/ 1159 h 1179"/>
                <a:gd name="T26" fmla="*/ 1065 w 1178"/>
                <a:gd name="T27" fmla="*/ 1174 h 1179"/>
                <a:gd name="T28" fmla="*/ 1025 w 1178"/>
                <a:gd name="T29" fmla="*/ 1179 h 1179"/>
                <a:gd name="T30" fmla="*/ 995 w 1178"/>
                <a:gd name="T31" fmla="*/ 1176 h 1179"/>
                <a:gd name="T32" fmla="*/ 966 w 1178"/>
                <a:gd name="T33" fmla="*/ 1168 h 1179"/>
                <a:gd name="T34" fmla="*/ 940 w 1178"/>
                <a:gd name="T35" fmla="*/ 1153 h 1179"/>
                <a:gd name="T36" fmla="*/ 915 w 1178"/>
                <a:gd name="T37" fmla="*/ 1134 h 1179"/>
                <a:gd name="T38" fmla="*/ 43 w 1178"/>
                <a:gd name="T39" fmla="*/ 262 h 1179"/>
                <a:gd name="T40" fmla="*/ 21 w 1178"/>
                <a:gd name="T41" fmla="*/ 234 h 1179"/>
                <a:gd name="T42" fmla="*/ 7 w 1178"/>
                <a:gd name="T43" fmla="*/ 202 h 1179"/>
                <a:gd name="T44" fmla="*/ 0 w 1178"/>
                <a:gd name="T45" fmla="*/ 170 h 1179"/>
                <a:gd name="T46" fmla="*/ 0 w 1178"/>
                <a:gd name="T47" fmla="*/ 136 h 1179"/>
                <a:gd name="T48" fmla="*/ 7 w 1178"/>
                <a:gd name="T49" fmla="*/ 104 h 1179"/>
                <a:gd name="T50" fmla="*/ 21 w 1178"/>
                <a:gd name="T51" fmla="*/ 72 h 1179"/>
                <a:gd name="T52" fmla="*/ 43 w 1178"/>
                <a:gd name="T53" fmla="*/ 43 h 1179"/>
                <a:gd name="T54" fmla="*/ 72 w 1178"/>
                <a:gd name="T55" fmla="*/ 23 h 1179"/>
                <a:gd name="T56" fmla="*/ 102 w 1178"/>
                <a:gd name="T57" fmla="*/ 8 h 1179"/>
                <a:gd name="T58" fmla="*/ 136 w 1178"/>
                <a:gd name="T59" fmla="*/ 0 h 1179"/>
                <a:gd name="T60" fmla="*/ 170 w 1178"/>
                <a:gd name="T61"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8" h="1179">
                  <a:moveTo>
                    <a:pt x="170" y="0"/>
                  </a:moveTo>
                  <a:lnTo>
                    <a:pt x="202" y="8"/>
                  </a:lnTo>
                  <a:lnTo>
                    <a:pt x="234" y="23"/>
                  </a:lnTo>
                  <a:lnTo>
                    <a:pt x="262" y="43"/>
                  </a:lnTo>
                  <a:lnTo>
                    <a:pt x="1134" y="917"/>
                  </a:lnTo>
                  <a:lnTo>
                    <a:pt x="1155" y="944"/>
                  </a:lnTo>
                  <a:lnTo>
                    <a:pt x="1170" y="976"/>
                  </a:lnTo>
                  <a:lnTo>
                    <a:pt x="1178" y="1008"/>
                  </a:lnTo>
                  <a:lnTo>
                    <a:pt x="1178" y="1042"/>
                  </a:lnTo>
                  <a:lnTo>
                    <a:pt x="1170" y="1076"/>
                  </a:lnTo>
                  <a:lnTo>
                    <a:pt x="1155" y="1106"/>
                  </a:lnTo>
                  <a:lnTo>
                    <a:pt x="1134" y="1134"/>
                  </a:lnTo>
                  <a:lnTo>
                    <a:pt x="1100" y="1159"/>
                  </a:lnTo>
                  <a:lnTo>
                    <a:pt x="1065" y="1174"/>
                  </a:lnTo>
                  <a:lnTo>
                    <a:pt x="1025" y="1179"/>
                  </a:lnTo>
                  <a:lnTo>
                    <a:pt x="995" y="1176"/>
                  </a:lnTo>
                  <a:lnTo>
                    <a:pt x="966" y="1168"/>
                  </a:lnTo>
                  <a:lnTo>
                    <a:pt x="940" y="1153"/>
                  </a:lnTo>
                  <a:lnTo>
                    <a:pt x="915" y="1134"/>
                  </a:lnTo>
                  <a:lnTo>
                    <a:pt x="43" y="262"/>
                  </a:lnTo>
                  <a:lnTo>
                    <a:pt x="21" y="234"/>
                  </a:lnTo>
                  <a:lnTo>
                    <a:pt x="7" y="202"/>
                  </a:lnTo>
                  <a:lnTo>
                    <a:pt x="0" y="170"/>
                  </a:lnTo>
                  <a:lnTo>
                    <a:pt x="0" y="136"/>
                  </a:lnTo>
                  <a:lnTo>
                    <a:pt x="7" y="104"/>
                  </a:lnTo>
                  <a:lnTo>
                    <a:pt x="21" y="72"/>
                  </a:lnTo>
                  <a:lnTo>
                    <a:pt x="43" y="43"/>
                  </a:lnTo>
                  <a:lnTo>
                    <a:pt x="72" y="23"/>
                  </a:lnTo>
                  <a:lnTo>
                    <a:pt x="102" y="8"/>
                  </a:lnTo>
                  <a:lnTo>
                    <a:pt x="136" y="0"/>
                  </a:lnTo>
                  <a:lnTo>
                    <a:pt x="1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56" name="Freeform 194">
              <a:extLst>
                <a:ext uri="{FF2B5EF4-FFF2-40B4-BE49-F238E27FC236}">
                  <a16:creationId xmlns:a16="http://schemas.microsoft.com/office/drawing/2014/main" id="{86B0B06F-D735-474D-8A9A-65BA3747E219}"/>
                </a:ext>
              </a:extLst>
            </p:cNvPr>
            <p:cNvSpPr>
              <a:spLocks noEditPoints="1"/>
            </p:cNvSpPr>
            <p:nvPr/>
          </p:nvSpPr>
          <p:spPr bwMode="auto">
            <a:xfrm>
              <a:off x="8272463" y="2347913"/>
              <a:ext cx="3489325" cy="3368675"/>
            </a:xfrm>
            <a:custGeom>
              <a:avLst/>
              <a:gdLst>
                <a:gd name="T0" fmla="*/ 307 w 4394"/>
                <a:gd name="T1" fmla="*/ 1901 h 4245"/>
                <a:gd name="T2" fmla="*/ 315 w 4394"/>
                <a:gd name="T3" fmla="*/ 3826 h 4245"/>
                <a:gd name="T4" fmla="*/ 912 w 4394"/>
                <a:gd name="T5" fmla="*/ 3816 h 4245"/>
                <a:gd name="T6" fmla="*/ 902 w 4394"/>
                <a:gd name="T7" fmla="*/ 1891 h 4245"/>
                <a:gd name="T8" fmla="*/ 2139 w 4394"/>
                <a:gd name="T9" fmla="*/ 933 h 4245"/>
                <a:gd name="T10" fmla="*/ 2063 w 4394"/>
                <a:gd name="T11" fmla="*/ 1306 h 4245"/>
                <a:gd name="T12" fmla="*/ 1842 w 4394"/>
                <a:gd name="T13" fmla="*/ 1627 h 4245"/>
                <a:gd name="T14" fmla="*/ 1561 w 4394"/>
                <a:gd name="T15" fmla="*/ 1841 h 4245"/>
                <a:gd name="T16" fmla="*/ 1357 w 4394"/>
                <a:gd name="T17" fmla="*/ 1941 h 4245"/>
                <a:gd name="T18" fmla="*/ 1242 w 4394"/>
                <a:gd name="T19" fmla="*/ 1982 h 4245"/>
                <a:gd name="T20" fmla="*/ 1219 w 4394"/>
                <a:gd name="T21" fmla="*/ 1988 h 4245"/>
                <a:gd name="T22" fmla="*/ 1238 w 4394"/>
                <a:gd name="T23" fmla="*/ 3711 h 4245"/>
                <a:gd name="T24" fmla="*/ 1385 w 4394"/>
                <a:gd name="T25" fmla="*/ 3890 h 4245"/>
                <a:gd name="T26" fmla="*/ 3392 w 4394"/>
                <a:gd name="T27" fmla="*/ 3937 h 4245"/>
                <a:gd name="T28" fmla="*/ 3634 w 4394"/>
                <a:gd name="T29" fmla="*/ 3894 h 4245"/>
                <a:gd name="T30" fmla="*/ 3768 w 4394"/>
                <a:gd name="T31" fmla="*/ 3794 h 4245"/>
                <a:gd name="T32" fmla="*/ 3826 w 4394"/>
                <a:gd name="T33" fmla="*/ 3675 h 4245"/>
                <a:gd name="T34" fmla="*/ 3843 w 4394"/>
                <a:gd name="T35" fmla="*/ 3582 h 4245"/>
                <a:gd name="T36" fmla="*/ 4087 w 4394"/>
                <a:gd name="T37" fmla="*/ 2046 h 4245"/>
                <a:gd name="T38" fmla="*/ 4032 w 4394"/>
                <a:gd name="T39" fmla="*/ 1848 h 4245"/>
                <a:gd name="T40" fmla="*/ 3864 w 4394"/>
                <a:gd name="T41" fmla="*/ 1710 h 4245"/>
                <a:gd name="T42" fmla="*/ 2676 w 4394"/>
                <a:gd name="T43" fmla="*/ 1684 h 4245"/>
                <a:gd name="T44" fmla="*/ 2569 w 4394"/>
                <a:gd name="T45" fmla="*/ 1576 h 4245"/>
                <a:gd name="T46" fmla="*/ 2554 w 4394"/>
                <a:gd name="T47" fmla="*/ 610 h 4245"/>
                <a:gd name="T48" fmla="*/ 2463 w 4394"/>
                <a:gd name="T49" fmla="*/ 401 h 4245"/>
                <a:gd name="T50" fmla="*/ 2282 w 4394"/>
                <a:gd name="T51" fmla="*/ 312 h 4245"/>
                <a:gd name="T52" fmla="*/ 2233 w 4394"/>
                <a:gd name="T53" fmla="*/ 0 h 4245"/>
                <a:gd name="T54" fmla="*/ 2484 w 4394"/>
                <a:gd name="T55" fmla="*/ 51 h 4245"/>
                <a:gd name="T56" fmla="*/ 2712 w 4394"/>
                <a:gd name="T57" fmla="*/ 219 h 4245"/>
                <a:gd name="T58" fmla="*/ 2843 w 4394"/>
                <a:gd name="T59" fmla="*/ 493 h 4245"/>
                <a:gd name="T60" fmla="*/ 2871 w 4394"/>
                <a:gd name="T61" fmla="*/ 1384 h 4245"/>
                <a:gd name="T62" fmla="*/ 3971 w 4394"/>
                <a:gd name="T63" fmla="*/ 1423 h 4245"/>
                <a:gd name="T64" fmla="*/ 4221 w 4394"/>
                <a:gd name="T65" fmla="*/ 1591 h 4245"/>
                <a:gd name="T66" fmla="*/ 4366 w 4394"/>
                <a:gd name="T67" fmla="*/ 1848 h 4245"/>
                <a:gd name="T68" fmla="*/ 4387 w 4394"/>
                <a:gd name="T69" fmla="*/ 2148 h 4245"/>
                <a:gd name="T70" fmla="*/ 4075 w 4394"/>
                <a:gd name="T71" fmla="*/ 3873 h 4245"/>
                <a:gd name="T72" fmla="*/ 3864 w 4394"/>
                <a:gd name="T73" fmla="*/ 4117 h 4245"/>
                <a:gd name="T74" fmla="*/ 3567 w 4394"/>
                <a:gd name="T75" fmla="*/ 4230 h 4245"/>
                <a:gd name="T76" fmla="*/ 1470 w 4394"/>
                <a:gd name="T77" fmla="*/ 4237 h 4245"/>
                <a:gd name="T78" fmla="*/ 1168 w 4394"/>
                <a:gd name="T79" fmla="*/ 4113 h 4245"/>
                <a:gd name="T80" fmla="*/ 959 w 4394"/>
                <a:gd name="T81" fmla="*/ 4128 h 4245"/>
                <a:gd name="T82" fmla="*/ 206 w 4394"/>
                <a:gd name="T83" fmla="*/ 4113 h 4245"/>
                <a:gd name="T84" fmla="*/ 43 w 4394"/>
                <a:gd name="T85" fmla="*/ 3975 h 4245"/>
                <a:gd name="T86" fmla="*/ 0 w 4394"/>
                <a:gd name="T87" fmla="*/ 1901 h 4245"/>
                <a:gd name="T88" fmla="*/ 73 w 4394"/>
                <a:gd name="T89" fmla="*/ 1697 h 4245"/>
                <a:gd name="T90" fmla="*/ 258 w 4394"/>
                <a:gd name="T91" fmla="*/ 1590 h 4245"/>
                <a:gd name="T92" fmla="*/ 1008 w 4394"/>
                <a:gd name="T93" fmla="*/ 1603 h 4245"/>
                <a:gd name="T94" fmla="*/ 1153 w 4394"/>
                <a:gd name="T95" fmla="*/ 1686 h 4245"/>
                <a:gd name="T96" fmla="*/ 1255 w 4394"/>
                <a:gd name="T97" fmla="*/ 1648 h 4245"/>
                <a:gd name="T98" fmla="*/ 1451 w 4394"/>
                <a:gd name="T99" fmla="*/ 1544 h 4245"/>
                <a:gd name="T100" fmla="*/ 1704 w 4394"/>
                <a:gd name="T101" fmla="*/ 1318 h 4245"/>
                <a:gd name="T102" fmla="*/ 1827 w 4394"/>
                <a:gd name="T103" fmla="*/ 1016 h 4245"/>
                <a:gd name="T104" fmla="*/ 1852 w 4394"/>
                <a:gd name="T105" fmla="*/ 108 h 4245"/>
                <a:gd name="T106" fmla="*/ 1948 w 4394"/>
                <a:gd name="T107" fmla="*/ 34 h 4245"/>
                <a:gd name="T108" fmla="*/ 2072 w 4394"/>
                <a:gd name="T109" fmla="*/ 8 h 4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94" h="4245">
                  <a:moveTo>
                    <a:pt x="315" y="1891"/>
                  </a:moveTo>
                  <a:lnTo>
                    <a:pt x="311" y="1891"/>
                  </a:lnTo>
                  <a:lnTo>
                    <a:pt x="307" y="1895"/>
                  </a:lnTo>
                  <a:lnTo>
                    <a:pt x="307" y="1901"/>
                  </a:lnTo>
                  <a:lnTo>
                    <a:pt x="307" y="3816"/>
                  </a:lnTo>
                  <a:lnTo>
                    <a:pt x="307" y="3820"/>
                  </a:lnTo>
                  <a:lnTo>
                    <a:pt x="311" y="3824"/>
                  </a:lnTo>
                  <a:lnTo>
                    <a:pt x="315" y="3826"/>
                  </a:lnTo>
                  <a:lnTo>
                    <a:pt x="902" y="3826"/>
                  </a:lnTo>
                  <a:lnTo>
                    <a:pt x="908" y="3824"/>
                  </a:lnTo>
                  <a:lnTo>
                    <a:pt x="910" y="3820"/>
                  </a:lnTo>
                  <a:lnTo>
                    <a:pt x="912" y="3816"/>
                  </a:lnTo>
                  <a:lnTo>
                    <a:pt x="912" y="1901"/>
                  </a:lnTo>
                  <a:lnTo>
                    <a:pt x="910" y="1895"/>
                  </a:lnTo>
                  <a:lnTo>
                    <a:pt x="908" y="1891"/>
                  </a:lnTo>
                  <a:lnTo>
                    <a:pt x="902" y="1891"/>
                  </a:lnTo>
                  <a:lnTo>
                    <a:pt x="315" y="1891"/>
                  </a:lnTo>
                  <a:close/>
                  <a:moveTo>
                    <a:pt x="2184" y="306"/>
                  </a:moveTo>
                  <a:lnTo>
                    <a:pt x="2139" y="310"/>
                  </a:lnTo>
                  <a:lnTo>
                    <a:pt x="2139" y="933"/>
                  </a:lnTo>
                  <a:lnTo>
                    <a:pt x="2135" y="1029"/>
                  </a:lnTo>
                  <a:lnTo>
                    <a:pt x="2120" y="1125"/>
                  </a:lnTo>
                  <a:lnTo>
                    <a:pt x="2097" y="1218"/>
                  </a:lnTo>
                  <a:lnTo>
                    <a:pt x="2063" y="1306"/>
                  </a:lnTo>
                  <a:lnTo>
                    <a:pt x="2021" y="1391"/>
                  </a:lnTo>
                  <a:lnTo>
                    <a:pt x="1970" y="1474"/>
                  </a:lnTo>
                  <a:lnTo>
                    <a:pt x="1910" y="1552"/>
                  </a:lnTo>
                  <a:lnTo>
                    <a:pt x="1842" y="1627"/>
                  </a:lnTo>
                  <a:lnTo>
                    <a:pt x="1763" y="1697"/>
                  </a:lnTo>
                  <a:lnTo>
                    <a:pt x="1678" y="1765"/>
                  </a:lnTo>
                  <a:lnTo>
                    <a:pt x="1619" y="1805"/>
                  </a:lnTo>
                  <a:lnTo>
                    <a:pt x="1561" y="1841"/>
                  </a:lnTo>
                  <a:lnTo>
                    <a:pt x="1504" y="1871"/>
                  </a:lnTo>
                  <a:lnTo>
                    <a:pt x="1451" y="1897"/>
                  </a:lnTo>
                  <a:lnTo>
                    <a:pt x="1402" y="1922"/>
                  </a:lnTo>
                  <a:lnTo>
                    <a:pt x="1357" y="1941"/>
                  </a:lnTo>
                  <a:lnTo>
                    <a:pt x="1317" y="1956"/>
                  </a:lnTo>
                  <a:lnTo>
                    <a:pt x="1283" y="1967"/>
                  </a:lnTo>
                  <a:lnTo>
                    <a:pt x="1259" y="1976"/>
                  </a:lnTo>
                  <a:lnTo>
                    <a:pt x="1242" y="1982"/>
                  </a:lnTo>
                  <a:lnTo>
                    <a:pt x="1234" y="1984"/>
                  </a:lnTo>
                  <a:lnTo>
                    <a:pt x="1231" y="1984"/>
                  </a:lnTo>
                  <a:lnTo>
                    <a:pt x="1229" y="1984"/>
                  </a:lnTo>
                  <a:lnTo>
                    <a:pt x="1219" y="1988"/>
                  </a:lnTo>
                  <a:lnTo>
                    <a:pt x="1219" y="3633"/>
                  </a:lnTo>
                  <a:lnTo>
                    <a:pt x="1221" y="3643"/>
                  </a:lnTo>
                  <a:lnTo>
                    <a:pt x="1223" y="3652"/>
                  </a:lnTo>
                  <a:lnTo>
                    <a:pt x="1238" y="3711"/>
                  </a:lnTo>
                  <a:lnTo>
                    <a:pt x="1263" y="3766"/>
                  </a:lnTo>
                  <a:lnTo>
                    <a:pt x="1297" y="3815"/>
                  </a:lnTo>
                  <a:lnTo>
                    <a:pt x="1338" y="3856"/>
                  </a:lnTo>
                  <a:lnTo>
                    <a:pt x="1385" y="3890"/>
                  </a:lnTo>
                  <a:lnTo>
                    <a:pt x="1438" y="3917"/>
                  </a:lnTo>
                  <a:lnTo>
                    <a:pt x="1495" y="3932"/>
                  </a:lnTo>
                  <a:lnTo>
                    <a:pt x="1555" y="3937"/>
                  </a:lnTo>
                  <a:lnTo>
                    <a:pt x="3392" y="3937"/>
                  </a:lnTo>
                  <a:lnTo>
                    <a:pt x="3464" y="3935"/>
                  </a:lnTo>
                  <a:lnTo>
                    <a:pt x="3528" y="3926"/>
                  </a:lnTo>
                  <a:lnTo>
                    <a:pt x="3584" y="3913"/>
                  </a:lnTo>
                  <a:lnTo>
                    <a:pt x="3634" y="3894"/>
                  </a:lnTo>
                  <a:lnTo>
                    <a:pt x="3675" y="3873"/>
                  </a:lnTo>
                  <a:lnTo>
                    <a:pt x="3711" y="3849"/>
                  </a:lnTo>
                  <a:lnTo>
                    <a:pt x="3743" y="3822"/>
                  </a:lnTo>
                  <a:lnTo>
                    <a:pt x="3768" y="3794"/>
                  </a:lnTo>
                  <a:lnTo>
                    <a:pt x="3788" y="3764"/>
                  </a:lnTo>
                  <a:lnTo>
                    <a:pt x="3803" y="3733"/>
                  </a:lnTo>
                  <a:lnTo>
                    <a:pt x="3817" y="3703"/>
                  </a:lnTo>
                  <a:lnTo>
                    <a:pt x="3826" y="3675"/>
                  </a:lnTo>
                  <a:lnTo>
                    <a:pt x="3834" y="3647"/>
                  </a:lnTo>
                  <a:lnTo>
                    <a:pt x="3839" y="3622"/>
                  </a:lnTo>
                  <a:lnTo>
                    <a:pt x="3841" y="3599"/>
                  </a:lnTo>
                  <a:lnTo>
                    <a:pt x="3843" y="3582"/>
                  </a:lnTo>
                  <a:lnTo>
                    <a:pt x="3845" y="3579"/>
                  </a:lnTo>
                  <a:lnTo>
                    <a:pt x="3845" y="3575"/>
                  </a:lnTo>
                  <a:lnTo>
                    <a:pt x="4083" y="2099"/>
                  </a:lnTo>
                  <a:lnTo>
                    <a:pt x="4087" y="2046"/>
                  </a:lnTo>
                  <a:lnTo>
                    <a:pt x="4083" y="1993"/>
                  </a:lnTo>
                  <a:lnTo>
                    <a:pt x="4073" y="1942"/>
                  </a:lnTo>
                  <a:lnTo>
                    <a:pt x="4056" y="1895"/>
                  </a:lnTo>
                  <a:lnTo>
                    <a:pt x="4032" y="1848"/>
                  </a:lnTo>
                  <a:lnTo>
                    <a:pt x="4002" y="1807"/>
                  </a:lnTo>
                  <a:lnTo>
                    <a:pt x="3966" y="1771"/>
                  </a:lnTo>
                  <a:lnTo>
                    <a:pt x="3917" y="1737"/>
                  </a:lnTo>
                  <a:lnTo>
                    <a:pt x="3864" y="1710"/>
                  </a:lnTo>
                  <a:lnTo>
                    <a:pt x="3809" y="1695"/>
                  </a:lnTo>
                  <a:lnTo>
                    <a:pt x="3752" y="1690"/>
                  </a:lnTo>
                  <a:lnTo>
                    <a:pt x="2718" y="1690"/>
                  </a:lnTo>
                  <a:lnTo>
                    <a:pt x="2676" y="1684"/>
                  </a:lnTo>
                  <a:lnTo>
                    <a:pt x="2641" y="1669"/>
                  </a:lnTo>
                  <a:lnTo>
                    <a:pt x="2609" y="1644"/>
                  </a:lnTo>
                  <a:lnTo>
                    <a:pt x="2586" y="1614"/>
                  </a:lnTo>
                  <a:lnTo>
                    <a:pt x="2569" y="1576"/>
                  </a:lnTo>
                  <a:lnTo>
                    <a:pt x="2565" y="1537"/>
                  </a:lnTo>
                  <a:lnTo>
                    <a:pt x="2565" y="761"/>
                  </a:lnTo>
                  <a:lnTo>
                    <a:pt x="2561" y="682"/>
                  </a:lnTo>
                  <a:lnTo>
                    <a:pt x="2554" y="610"/>
                  </a:lnTo>
                  <a:lnTo>
                    <a:pt x="2539" y="546"/>
                  </a:lnTo>
                  <a:lnTo>
                    <a:pt x="2520" y="489"/>
                  </a:lnTo>
                  <a:lnTo>
                    <a:pt x="2493" y="440"/>
                  </a:lnTo>
                  <a:lnTo>
                    <a:pt x="2463" y="401"/>
                  </a:lnTo>
                  <a:lnTo>
                    <a:pt x="2425" y="367"/>
                  </a:lnTo>
                  <a:lnTo>
                    <a:pt x="2380" y="340"/>
                  </a:lnTo>
                  <a:lnTo>
                    <a:pt x="2333" y="321"/>
                  </a:lnTo>
                  <a:lnTo>
                    <a:pt x="2282" y="312"/>
                  </a:lnTo>
                  <a:lnTo>
                    <a:pt x="2231" y="306"/>
                  </a:lnTo>
                  <a:lnTo>
                    <a:pt x="2184" y="306"/>
                  </a:lnTo>
                  <a:close/>
                  <a:moveTo>
                    <a:pt x="2176" y="0"/>
                  </a:moveTo>
                  <a:lnTo>
                    <a:pt x="2233" y="0"/>
                  </a:lnTo>
                  <a:lnTo>
                    <a:pt x="2295" y="4"/>
                  </a:lnTo>
                  <a:lnTo>
                    <a:pt x="2357" y="14"/>
                  </a:lnTo>
                  <a:lnTo>
                    <a:pt x="2422" y="29"/>
                  </a:lnTo>
                  <a:lnTo>
                    <a:pt x="2484" y="51"/>
                  </a:lnTo>
                  <a:lnTo>
                    <a:pt x="2546" y="82"/>
                  </a:lnTo>
                  <a:lnTo>
                    <a:pt x="2609" y="119"/>
                  </a:lnTo>
                  <a:lnTo>
                    <a:pt x="2663" y="167"/>
                  </a:lnTo>
                  <a:lnTo>
                    <a:pt x="2712" y="219"/>
                  </a:lnTo>
                  <a:lnTo>
                    <a:pt x="2754" y="278"/>
                  </a:lnTo>
                  <a:lnTo>
                    <a:pt x="2790" y="344"/>
                  </a:lnTo>
                  <a:lnTo>
                    <a:pt x="2820" y="416"/>
                  </a:lnTo>
                  <a:lnTo>
                    <a:pt x="2843" y="493"/>
                  </a:lnTo>
                  <a:lnTo>
                    <a:pt x="2858" y="576"/>
                  </a:lnTo>
                  <a:lnTo>
                    <a:pt x="2869" y="667"/>
                  </a:lnTo>
                  <a:lnTo>
                    <a:pt x="2871" y="763"/>
                  </a:lnTo>
                  <a:lnTo>
                    <a:pt x="2871" y="1384"/>
                  </a:lnTo>
                  <a:lnTo>
                    <a:pt x="3752" y="1384"/>
                  </a:lnTo>
                  <a:lnTo>
                    <a:pt x="3826" y="1388"/>
                  </a:lnTo>
                  <a:lnTo>
                    <a:pt x="3900" y="1403"/>
                  </a:lnTo>
                  <a:lnTo>
                    <a:pt x="3971" y="1423"/>
                  </a:lnTo>
                  <a:lnTo>
                    <a:pt x="4039" y="1454"/>
                  </a:lnTo>
                  <a:lnTo>
                    <a:pt x="4105" y="1493"/>
                  </a:lnTo>
                  <a:lnTo>
                    <a:pt x="4166" y="1539"/>
                  </a:lnTo>
                  <a:lnTo>
                    <a:pt x="4221" y="1591"/>
                  </a:lnTo>
                  <a:lnTo>
                    <a:pt x="4268" y="1648"/>
                  </a:lnTo>
                  <a:lnTo>
                    <a:pt x="4307" y="1712"/>
                  </a:lnTo>
                  <a:lnTo>
                    <a:pt x="4341" y="1778"/>
                  </a:lnTo>
                  <a:lnTo>
                    <a:pt x="4366" y="1848"/>
                  </a:lnTo>
                  <a:lnTo>
                    <a:pt x="4383" y="1922"/>
                  </a:lnTo>
                  <a:lnTo>
                    <a:pt x="4392" y="1995"/>
                  </a:lnTo>
                  <a:lnTo>
                    <a:pt x="4394" y="2071"/>
                  </a:lnTo>
                  <a:lnTo>
                    <a:pt x="4387" y="2148"/>
                  </a:lnTo>
                  <a:lnTo>
                    <a:pt x="4149" y="3620"/>
                  </a:lnTo>
                  <a:lnTo>
                    <a:pt x="4132" y="3711"/>
                  </a:lnTo>
                  <a:lnTo>
                    <a:pt x="4107" y="3796"/>
                  </a:lnTo>
                  <a:lnTo>
                    <a:pt x="4075" y="3873"/>
                  </a:lnTo>
                  <a:lnTo>
                    <a:pt x="4034" y="3945"/>
                  </a:lnTo>
                  <a:lnTo>
                    <a:pt x="3985" y="4009"/>
                  </a:lnTo>
                  <a:lnTo>
                    <a:pt x="3928" y="4066"/>
                  </a:lnTo>
                  <a:lnTo>
                    <a:pt x="3864" y="4117"/>
                  </a:lnTo>
                  <a:lnTo>
                    <a:pt x="3798" y="4154"/>
                  </a:lnTo>
                  <a:lnTo>
                    <a:pt x="3726" y="4186"/>
                  </a:lnTo>
                  <a:lnTo>
                    <a:pt x="3651" y="4211"/>
                  </a:lnTo>
                  <a:lnTo>
                    <a:pt x="3567" y="4230"/>
                  </a:lnTo>
                  <a:lnTo>
                    <a:pt x="3483" y="4241"/>
                  </a:lnTo>
                  <a:lnTo>
                    <a:pt x="3392" y="4245"/>
                  </a:lnTo>
                  <a:lnTo>
                    <a:pt x="1555" y="4245"/>
                  </a:lnTo>
                  <a:lnTo>
                    <a:pt x="1470" y="4237"/>
                  </a:lnTo>
                  <a:lnTo>
                    <a:pt x="1389" y="4222"/>
                  </a:lnTo>
                  <a:lnTo>
                    <a:pt x="1310" y="4194"/>
                  </a:lnTo>
                  <a:lnTo>
                    <a:pt x="1236" y="4158"/>
                  </a:lnTo>
                  <a:lnTo>
                    <a:pt x="1168" y="4113"/>
                  </a:lnTo>
                  <a:lnTo>
                    <a:pt x="1106" y="4058"/>
                  </a:lnTo>
                  <a:lnTo>
                    <a:pt x="1061" y="4090"/>
                  </a:lnTo>
                  <a:lnTo>
                    <a:pt x="1012" y="4113"/>
                  </a:lnTo>
                  <a:lnTo>
                    <a:pt x="959" y="4128"/>
                  </a:lnTo>
                  <a:lnTo>
                    <a:pt x="902" y="4132"/>
                  </a:lnTo>
                  <a:lnTo>
                    <a:pt x="315" y="4132"/>
                  </a:lnTo>
                  <a:lnTo>
                    <a:pt x="258" y="4128"/>
                  </a:lnTo>
                  <a:lnTo>
                    <a:pt x="206" y="4113"/>
                  </a:lnTo>
                  <a:lnTo>
                    <a:pt x="156" y="4090"/>
                  </a:lnTo>
                  <a:lnTo>
                    <a:pt x="113" y="4058"/>
                  </a:lnTo>
                  <a:lnTo>
                    <a:pt x="73" y="4020"/>
                  </a:lnTo>
                  <a:lnTo>
                    <a:pt x="43" y="3975"/>
                  </a:lnTo>
                  <a:lnTo>
                    <a:pt x="19" y="3926"/>
                  </a:lnTo>
                  <a:lnTo>
                    <a:pt x="5" y="3873"/>
                  </a:lnTo>
                  <a:lnTo>
                    <a:pt x="0" y="3816"/>
                  </a:lnTo>
                  <a:lnTo>
                    <a:pt x="0" y="1901"/>
                  </a:lnTo>
                  <a:lnTo>
                    <a:pt x="5" y="1844"/>
                  </a:lnTo>
                  <a:lnTo>
                    <a:pt x="19" y="1790"/>
                  </a:lnTo>
                  <a:lnTo>
                    <a:pt x="43" y="1740"/>
                  </a:lnTo>
                  <a:lnTo>
                    <a:pt x="73" y="1697"/>
                  </a:lnTo>
                  <a:lnTo>
                    <a:pt x="113" y="1657"/>
                  </a:lnTo>
                  <a:lnTo>
                    <a:pt x="156" y="1627"/>
                  </a:lnTo>
                  <a:lnTo>
                    <a:pt x="206" y="1603"/>
                  </a:lnTo>
                  <a:lnTo>
                    <a:pt x="258" y="1590"/>
                  </a:lnTo>
                  <a:lnTo>
                    <a:pt x="315" y="1584"/>
                  </a:lnTo>
                  <a:lnTo>
                    <a:pt x="900" y="1584"/>
                  </a:lnTo>
                  <a:lnTo>
                    <a:pt x="955" y="1588"/>
                  </a:lnTo>
                  <a:lnTo>
                    <a:pt x="1008" y="1603"/>
                  </a:lnTo>
                  <a:lnTo>
                    <a:pt x="1057" y="1623"/>
                  </a:lnTo>
                  <a:lnTo>
                    <a:pt x="1100" y="1654"/>
                  </a:lnTo>
                  <a:lnTo>
                    <a:pt x="1136" y="1690"/>
                  </a:lnTo>
                  <a:lnTo>
                    <a:pt x="1153" y="1686"/>
                  </a:lnTo>
                  <a:lnTo>
                    <a:pt x="1164" y="1682"/>
                  </a:lnTo>
                  <a:lnTo>
                    <a:pt x="1187" y="1674"/>
                  </a:lnTo>
                  <a:lnTo>
                    <a:pt x="1217" y="1663"/>
                  </a:lnTo>
                  <a:lnTo>
                    <a:pt x="1255" y="1648"/>
                  </a:lnTo>
                  <a:lnTo>
                    <a:pt x="1298" y="1629"/>
                  </a:lnTo>
                  <a:lnTo>
                    <a:pt x="1346" y="1605"/>
                  </a:lnTo>
                  <a:lnTo>
                    <a:pt x="1399" y="1578"/>
                  </a:lnTo>
                  <a:lnTo>
                    <a:pt x="1451" y="1544"/>
                  </a:lnTo>
                  <a:lnTo>
                    <a:pt x="1506" y="1508"/>
                  </a:lnTo>
                  <a:lnTo>
                    <a:pt x="1582" y="1448"/>
                  </a:lnTo>
                  <a:lnTo>
                    <a:pt x="1648" y="1386"/>
                  </a:lnTo>
                  <a:lnTo>
                    <a:pt x="1704" y="1318"/>
                  </a:lnTo>
                  <a:lnTo>
                    <a:pt x="1750" y="1248"/>
                  </a:lnTo>
                  <a:lnTo>
                    <a:pt x="1786" y="1174"/>
                  </a:lnTo>
                  <a:lnTo>
                    <a:pt x="1810" y="1097"/>
                  </a:lnTo>
                  <a:lnTo>
                    <a:pt x="1827" y="1016"/>
                  </a:lnTo>
                  <a:lnTo>
                    <a:pt x="1831" y="933"/>
                  </a:lnTo>
                  <a:lnTo>
                    <a:pt x="1831" y="182"/>
                  </a:lnTo>
                  <a:lnTo>
                    <a:pt x="1836" y="144"/>
                  </a:lnTo>
                  <a:lnTo>
                    <a:pt x="1852" y="108"/>
                  </a:lnTo>
                  <a:lnTo>
                    <a:pt x="1874" y="78"/>
                  </a:lnTo>
                  <a:lnTo>
                    <a:pt x="1903" y="53"/>
                  </a:lnTo>
                  <a:lnTo>
                    <a:pt x="1938" y="36"/>
                  </a:lnTo>
                  <a:lnTo>
                    <a:pt x="1948" y="34"/>
                  </a:lnTo>
                  <a:lnTo>
                    <a:pt x="1967" y="29"/>
                  </a:lnTo>
                  <a:lnTo>
                    <a:pt x="1995" y="23"/>
                  </a:lnTo>
                  <a:lnTo>
                    <a:pt x="2031" y="16"/>
                  </a:lnTo>
                  <a:lnTo>
                    <a:pt x="2072" y="8"/>
                  </a:lnTo>
                  <a:lnTo>
                    <a:pt x="2122" y="4"/>
                  </a:lnTo>
                  <a:lnTo>
                    <a:pt x="21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pic>
        <p:nvPicPr>
          <p:cNvPr id="459" name="Graphique 458" descr="Dollar">
            <a:extLst>
              <a:ext uri="{FF2B5EF4-FFF2-40B4-BE49-F238E27FC236}">
                <a16:creationId xmlns:a16="http://schemas.microsoft.com/office/drawing/2014/main" id="{F5AEFBC0-47AD-4EC7-A169-0089124A6AB0}"/>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616380" y="4196316"/>
            <a:ext cx="144000" cy="144000"/>
          </a:xfrm>
          <a:prstGeom prst="rect">
            <a:avLst/>
          </a:prstGeom>
        </p:spPr>
      </p:pic>
      <p:pic>
        <p:nvPicPr>
          <p:cNvPr id="460" name="Graphique 459" descr="Dollar">
            <a:extLst>
              <a:ext uri="{FF2B5EF4-FFF2-40B4-BE49-F238E27FC236}">
                <a16:creationId xmlns:a16="http://schemas.microsoft.com/office/drawing/2014/main" id="{87FB3745-1AEF-4BCE-BEFA-7F91E2FA97F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081000" y="4196316"/>
            <a:ext cx="144000" cy="144000"/>
          </a:xfrm>
          <a:prstGeom prst="rect">
            <a:avLst/>
          </a:prstGeom>
        </p:spPr>
      </p:pic>
    </p:spTree>
    <p:extLst>
      <p:ext uri="{BB962C8B-B14F-4D97-AF65-F5344CB8AC3E}">
        <p14:creationId xmlns:p14="http://schemas.microsoft.com/office/powerpoint/2010/main" val="2125039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8"/>
                                        </p:tgtEl>
                                        <p:attrNameLst>
                                          <p:attrName>style.visibility</p:attrName>
                                        </p:attrNameLst>
                                      </p:cBhvr>
                                      <p:to>
                                        <p:strVal val="visible"/>
                                      </p:to>
                                    </p:set>
                                    <p:animEffect transition="in" filter="fade">
                                      <p:cBhvr>
                                        <p:cTn id="7" dur="1000"/>
                                        <p:tgtEl>
                                          <p:spTgt spid="4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fade">
                                      <p:cBhvr>
                                        <p:cTn id="10" dur="500"/>
                                        <p:tgtEl>
                                          <p:spTgt spid="201"/>
                                        </p:tgtEl>
                                      </p:cBhvr>
                                    </p:animEffect>
                                  </p:childTnLst>
                                </p:cTn>
                              </p:par>
                              <p:par>
                                <p:cTn id="11" presetID="1" presetClass="entr" presetSubtype="0" fill="hold" nodeType="withEffect">
                                  <p:stCondLst>
                                    <p:cond delay="0"/>
                                  </p:stCondLst>
                                  <p:childTnLst>
                                    <p:set>
                                      <p:cBhvr>
                                        <p:cTn id="12" dur="1" fill="hold">
                                          <p:stCondLst>
                                            <p:cond delay="0"/>
                                          </p:stCondLst>
                                        </p:cTn>
                                        <p:tgtEl>
                                          <p:spTgt spid="354"/>
                                        </p:tgtEl>
                                        <p:attrNameLst>
                                          <p:attrName>style.visibility</p:attrName>
                                        </p:attrNameLst>
                                      </p:cBhvr>
                                      <p:to>
                                        <p:strVal val="visible"/>
                                      </p:to>
                                    </p:set>
                                  </p:childTnLst>
                                </p:cTn>
                              </p:par>
                            </p:childTnLst>
                          </p:cTn>
                        </p:par>
                        <p:par>
                          <p:cTn id="13" fill="hold">
                            <p:stCondLst>
                              <p:cond delay="1000"/>
                            </p:stCondLst>
                            <p:childTnLst>
                              <p:par>
                                <p:cTn id="14" presetID="10" presetClass="entr" presetSubtype="0" fill="hold" nodeType="afterEffect">
                                  <p:stCondLst>
                                    <p:cond delay="500"/>
                                  </p:stCondLst>
                                  <p:childTnLst>
                                    <p:set>
                                      <p:cBhvr>
                                        <p:cTn id="15" dur="1" fill="hold">
                                          <p:stCondLst>
                                            <p:cond delay="0"/>
                                          </p:stCondLst>
                                        </p:cTn>
                                        <p:tgtEl>
                                          <p:spTgt spid="292"/>
                                        </p:tgtEl>
                                        <p:attrNameLst>
                                          <p:attrName>style.visibility</p:attrName>
                                        </p:attrNameLst>
                                      </p:cBhvr>
                                      <p:to>
                                        <p:strVal val="visible"/>
                                      </p:to>
                                    </p:set>
                                    <p:animEffect transition="in" filter="fade">
                                      <p:cBhvr>
                                        <p:cTn id="16" dur="500"/>
                                        <p:tgtEl>
                                          <p:spTgt spid="292"/>
                                        </p:tgtEl>
                                      </p:cBhvr>
                                    </p:animEffect>
                                  </p:childTnLst>
                                </p:cTn>
                              </p:par>
                              <p:par>
                                <p:cTn id="17" presetID="10" presetClass="entr" presetSubtype="0" fill="hold" nodeType="withEffect">
                                  <p:stCondLst>
                                    <p:cond delay="50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10" presetClass="entr" presetSubtype="0" fill="hold" nodeType="withEffect">
                                  <p:stCondLst>
                                    <p:cond delay="500"/>
                                  </p:stCondLst>
                                  <p:childTnLst>
                                    <p:set>
                                      <p:cBhvr>
                                        <p:cTn id="21" dur="1" fill="hold">
                                          <p:stCondLst>
                                            <p:cond delay="0"/>
                                          </p:stCondLst>
                                        </p:cTn>
                                        <p:tgtEl>
                                          <p:spTgt spid="291"/>
                                        </p:tgtEl>
                                        <p:attrNameLst>
                                          <p:attrName>style.visibility</p:attrName>
                                        </p:attrNameLst>
                                      </p:cBhvr>
                                      <p:to>
                                        <p:strVal val="visible"/>
                                      </p:to>
                                    </p:set>
                                    <p:animEffect transition="in" filter="fade">
                                      <p:cBhvr>
                                        <p:cTn id="22" dur="500"/>
                                        <p:tgtEl>
                                          <p:spTgt spid="291"/>
                                        </p:tgtEl>
                                      </p:cBhvr>
                                    </p:animEffect>
                                  </p:childTnLst>
                                </p:cTn>
                              </p:par>
                              <p:par>
                                <p:cTn id="23" presetID="10" presetClass="entr" presetSubtype="0" fill="hold" nodeType="withEffect">
                                  <p:stCondLst>
                                    <p:cond delay="500"/>
                                  </p:stCondLst>
                                  <p:childTnLst>
                                    <p:set>
                                      <p:cBhvr>
                                        <p:cTn id="24" dur="1" fill="hold">
                                          <p:stCondLst>
                                            <p:cond delay="0"/>
                                          </p:stCondLst>
                                        </p:cTn>
                                        <p:tgtEl>
                                          <p:spTgt spid="123"/>
                                        </p:tgtEl>
                                        <p:attrNameLst>
                                          <p:attrName>style.visibility</p:attrName>
                                        </p:attrNameLst>
                                      </p:cBhvr>
                                      <p:to>
                                        <p:strVal val="visible"/>
                                      </p:to>
                                    </p:set>
                                    <p:animEffect transition="in" filter="fade">
                                      <p:cBhvr>
                                        <p:cTn id="25" dur="500"/>
                                        <p:tgtEl>
                                          <p:spTgt spid="123"/>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303"/>
                                        </p:tgtEl>
                                        <p:attrNameLst>
                                          <p:attrName>style.visibility</p:attrName>
                                        </p:attrNameLst>
                                      </p:cBhvr>
                                      <p:to>
                                        <p:strVal val="visible"/>
                                      </p:to>
                                    </p:set>
                                    <p:animEffect transition="in" filter="fade">
                                      <p:cBhvr>
                                        <p:cTn id="28" dur="500"/>
                                        <p:tgtEl>
                                          <p:spTgt spid="303"/>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355"/>
                                        </p:tgtEl>
                                        <p:attrNameLst>
                                          <p:attrName>style.visibility</p:attrName>
                                        </p:attrNameLst>
                                      </p:cBhvr>
                                      <p:to>
                                        <p:strVal val="visible"/>
                                      </p:to>
                                    </p:set>
                                    <p:animEffect transition="in" filter="fade">
                                      <p:cBhvr>
                                        <p:cTn id="32" dur="500"/>
                                        <p:tgtEl>
                                          <p:spTgt spid="355"/>
                                        </p:tgtEl>
                                      </p:cBhvr>
                                    </p:animEffect>
                                  </p:childTnLst>
                                </p:cTn>
                              </p:par>
                              <p:par>
                                <p:cTn id="33" presetID="10" presetClass="entr" presetSubtype="0" fill="hold" nodeType="withEffect">
                                  <p:stCondLst>
                                    <p:cond delay="0"/>
                                  </p:stCondLst>
                                  <p:childTnLst>
                                    <p:set>
                                      <p:cBhvr>
                                        <p:cTn id="34" dur="1" fill="hold">
                                          <p:stCondLst>
                                            <p:cond delay="0"/>
                                          </p:stCondLst>
                                        </p:cTn>
                                        <p:tgtEl>
                                          <p:spTgt spid="197"/>
                                        </p:tgtEl>
                                        <p:attrNameLst>
                                          <p:attrName>style.visibility</p:attrName>
                                        </p:attrNameLst>
                                      </p:cBhvr>
                                      <p:to>
                                        <p:strVal val="visible"/>
                                      </p:to>
                                    </p:set>
                                    <p:animEffect transition="in" filter="fade">
                                      <p:cBhvr>
                                        <p:cTn id="35" dur="500"/>
                                        <p:tgtEl>
                                          <p:spTgt spid="197"/>
                                        </p:tgtEl>
                                      </p:cBhvr>
                                    </p:animEffect>
                                  </p:childTnLst>
                                </p:cTn>
                              </p:par>
                            </p:childTnLst>
                          </p:cTn>
                        </p:par>
                        <p:par>
                          <p:cTn id="36" fill="hold">
                            <p:stCondLst>
                              <p:cond delay="2500"/>
                            </p:stCondLst>
                            <p:childTnLst>
                              <p:par>
                                <p:cTn id="37" presetID="10" presetClass="entr" presetSubtype="0" fill="hold" nodeType="afterEffect">
                                  <p:stCondLst>
                                    <p:cond delay="500"/>
                                  </p:stCondLst>
                                  <p:childTnLst>
                                    <p:set>
                                      <p:cBhvr>
                                        <p:cTn id="38" dur="1" fill="hold">
                                          <p:stCondLst>
                                            <p:cond delay="0"/>
                                          </p:stCondLst>
                                        </p:cTn>
                                        <p:tgtEl>
                                          <p:spTgt spid="195"/>
                                        </p:tgtEl>
                                        <p:attrNameLst>
                                          <p:attrName>style.visibility</p:attrName>
                                        </p:attrNameLst>
                                      </p:cBhvr>
                                      <p:to>
                                        <p:strVal val="visible"/>
                                      </p:to>
                                    </p:set>
                                    <p:animEffect transition="in" filter="fade">
                                      <p:cBhvr>
                                        <p:cTn id="39" dur="500"/>
                                        <p:tgtEl>
                                          <p:spTgt spid="195"/>
                                        </p:tgtEl>
                                      </p:cBhvr>
                                    </p:animEffect>
                                  </p:childTnLst>
                                </p:cTn>
                              </p:par>
                            </p:childTnLst>
                          </p:cTn>
                        </p:par>
                        <p:par>
                          <p:cTn id="40" fill="hold">
                            <p:stCondLst>
                              <p:cond delay="3500"/>
                            </p:stCondLst>
                            <p:childTnLst>
                              <p:par>
                                <p:cTn id="41" presetID="10" presetClass="entr" presetSubtype="0" fill="hold" grpId="0" nodeType="afterEffect">
                                  <p:stCondLst>
                                    <p:cond delay="0"/>
                                  </p:stCondLst>
                                  <p:childTnLst>
                                    <p:set>
                                      <p:cBhvr>
                                        <p:cTn id="42" dur="1" fill="hold">
                                          <p:stCondLst>
                                            <p:cond delay="0"/>
                                          </p:stCondLst>
                                        </p:cTn>
                                        <p:tgtEl>
                                          <p:spTgt spid="203"/>
                                        </p:tgtEl>
                                        <p:attrNameLst>
                                          <p:attrName>style.visibility</p:attrName>
                                        </p:attrNameLst>
                                      </p:cBhvr>
                                      <p:to>
                                        <p:strVal val="visible"/>
                                      </p:to>
                                    </p:set>
                                    <p:animEffect transition="in" filter="fade">
                                      <p:cBhvr>
                                        <p:cTn id="43" dur="500"/>
                                        <p:tgtEl>
                                          <p:spTgt spid="203"/>
                                        </p:tgtEl>
                                      </p:cBhvr>
                                    </p:animEffect>
                                  </p:childTnLst>
                                </p:cTn>
                              </p:par>
                            </p:childTnLst>
                          </p:cTn>
                        </p:par>
                        <p:par>
                          <p:cTn id="44" fill="hold">
                            <p:stCondLst>
                              <p:cond delay="4000"/>
                            </p:stCondLst>
                            <p:childTnLst>
                              <p:par>
                                <p:cTn id="45" presetID="10" presetClass="entr" presetSubtype="0" fill="hold" nodeType="afterEffect">
                                  <p:stCondLst>
                                    <p:cond delay="0"/>
                                  </p:stCondLst>
                                  <p:childTnLst>
                                    <p:set>
                                      <p:cBhvr>
                                        <p:cTn id="46" dur="1" fill="hold">
                                          <p:stCondLst>
                                            <p:cond delay="0"/>
                                          </p:stCondLst>
                                        </p:cTn>
                                        <p:tgtEl>
                                          <p:spTgt spid="297"/>
                                        </p:tgtEl>
                                        <p:attrNameLst>
                                          <p:attrName>style.visibility</p:attrName>
                                        </p:attrNameLst>
                                      </p:cBhvr>
                                      <p:to>
                                        <p:strVal val="visible"/>
                                      </p:to>
                                    </p:set>
                                    <p:animEffect transition="in" filter="fade">
                                      <p:cBhvr>
                                        <p:cTn id="47" dur="500"/>
                                        <p:tgtEl>
                                          <p:spTgt spid="29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15"/>
                                        </p:tgtEl>
                                        <p:attrNameLst>
                                          <p:attrName>style.visibility</p:attrName>
                                        </p:attrNameLst>
                                      </p:cBhvr>
                                      <p:to>
                                        <p:strVal val="visible"/>
                                      </p:to>
                                    </p:set>
                                    <p:animEffect transition="in" filter="fade">
                                      <p:cBhvr>
                                        <p:cTn id="50" dur="500"/>
                                        <p:tgtEl>
                                          <p:spTgt spid="2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56"/>
                                        </p:tgtEl>
                                        <p:attrNameLst>
                                          <p:attrName>style.visibility</p:attrName>
                                        </p:attrNameLst>
                                      </p:cBhvr>
                                      <p:to>
                                        <p:strVal val="visible"/>
                                      </p:to>
                                    </p:set>
                                    <p:animEffect transition="in" filter="fade">
                                      <p:cBhvr>
                                        <p:cTn id="55" dur="500"/>
                                        <p:tgtEl>
                                          <p:spTgt spid="35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98"/>
                                        </p:tgtEl>
                                        <p:attrNameLst>
                                          <p:attrName>style.visibility</p:attrName>
                                        </p:attrNameLst>
                                      </p:cBhvr>
                                      <p:to>
                                        <p:strVal val="visible"/>
                                      </p:to>
                                    </p:set>
                                    <p:animEffect transition="in" filter="fade">
                                      <p:cBhvr>
                                        <p:cTn id="58" dur="500"/>
                                        <p:tgtEl>
                                          <p:spTgt spid="198"/>
                                        </p:tgtEl>
                                      </p:cBhvr>
                                    </p:animEffect>
                                  </p:childTnLst>
                                </p:cTn>
                              </p:par>
                            </p:childTnLst>
                          </p:cTn>
                        </p:par>
                        <p:par>
                          <p:cTn id="59" fill="hold">
                            <p:stCondLst>
                              <p:cond delay="500"/>
                            </p:stCondLst>
                            <p:childTnLst>
                              <p:par>
                                <p:cTn id="60" presetID="10" presetClass="entr" presetSubtype="0" fill="hold" nodeType="afterEffect">
                                  <p:stCondLst>
                                    <p:cond delay="0"/>
                                  </p:stCondLst>
                                  <p:childTnLst>
                                    <p:set>
                                      <p:cBhvr>
                                        <p:cTn id="61" dur="1" fill="hold">
                                          <p:stCondLst>
                                            <p:cond delay="0"/>
                                          </p:stCondLst>
                                        </p:cTn>
                                        <p:tgtEl>
                                          <p:spTgt spid="191"/>
                                        </p:tgtEl>
                                        <p:attrNameLst>
                                          <p:attrName>style.visibility</p:attrName>
                                        </p:attrNameLst>
                                      </p:cBhvr>
                                      <p:to>
                                        <p:strVal val="visible"/>
                                      </p:to>
                                    </p:set>
                                    <p:animEffect transition="in" filter="fade">
                                      <p:cBhvr>
                                        <p:cTn id="62" dur="500"/>
                                        <p:tgtEl>
                                          <p:spTgt spid="191"/>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16"/>
                                        </p:tgtEl>
                                        <p:attrNameLst>
                                          <p:attrName>style.visibility</p:attrName>
                                        </p:attrNameLst>
                                      </p:cBhvr>
                                      <p:to>
                                        <p:strVal val="visible"/>
                                      </p:to>
                                    </p:set>
                                    <p:animEffect transition="in" filter="fade">
                                      <p:cBhvr>
                                        <p:cTn id="66" dur="500"/>
                                        <p:tgtEl>
                                          <p:spTgt spid="216"/>
                                        </p:tgtEl>
                                      </p:cBhvr>
                                    </p:animEffec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233"/>
                                        </p:tgtEl>
                                        <p:attrNameLst>
                                          <p:attrName>style.visibility</p:attrName>
                                        </p:attrNameLst>
                                      </p:cBhvr>
                                      <p:to>
                                        <p:strVal val="visible"/>
                                      </p:to>
                                    </p:set>
                                    <p:animEffect transition="in" filter="fade">
                                      <p:cBhvr>
                                        <p:cTn id="70" dur="500"/>
                                        <p:tgtEl>
                                          <p:spTgt spid="233"/>
                                        </p:tgtEl>
                                      </p:cBhvr>
                                    </p:animEffect>
                                  </p:childTnLst>
                                </p:cTn>
                              </p:par>
                              <p:par>
                                <p:cTn id="71" presetID="10" presetClass="entr" presetSubtype="0" fill="hold" nodeType="withEffect">
                                  <p:stCondLst>
                                    <p:cond delay="0"/>
                                  </p:stCondLst>
                                  <p:childTnLst>
                                    <p:set>
                                      <p:cBhvr>
                                        <p:cTn id="72" dur="1" fill="hold">
                                          <p:stCondLst>
                                            <p:cond delay="0"/>
                                          </p:stCondLst>
                                        </p:cTn>
                                        <p:tgtEl>
                                          <p:spTgt spid="459"/>
                                        </p:tgtEl>
                                        <p:attrNameLst>
                                          <p:attrName>style.visibility</p:attrName>
                                        </p:attrNameLst>
                                      </p:cBhvr>
                                      <p:to>
                                        <p:strVal val="visible"/>
                                      </p:to>
                                    </p:set>
                                    <p:animEffect transition="in" filter="fade">
                                      <p:cBhvr>
                                        <p:cTn id="73" dur="500"/>
                                        <p:tgtEl>
                                          <p:spTgt spid="459"/>
                                        </p:tgtEl>
                                      </p:cBhvr>
                                    </p:animEffect>
                                  </p:childTnLst>
                                </p:cTn>
                              </p:par>
                            </p:childTnLst>
                          </p:cTn>
                        </p:par>
                        <p:par>
                          <p:cTn id="74" fill="hold">
                            <p:stCondLst>
                              <p:cond delay="2000"/>
                            </p:stCondLst>
                            <p:childTnLst>
                              <p:par>
                                <p:cTn id="75" presetID="10" presetClass="entr" presetSubtype="0" fill="hold" nodeType="afterEffect">
                                  <p:stCondLst>
                                    <p:cond delay="0"/>
                                  </p:stCondLst>
                                  <p:childTnLst>
                                    <p:set>
                                      <p:cBhvr>
                                        <p:cTn id="76" dur="1" fill="hold">
                                          <p:stCondLst>
                                            <p:cond delay="0"/>
                                          </p:stCondLst>
                                        </p:cTn>
                                        <p:tgtEl>
                                          <p:spTgt spid="237"/>
                                        </p:tgtEl>
                                        <p:attrNameLst>
                                          <p:attrName>style.visibility</p:attrName>
                                        </p:attrNameLst>
                                      </p:cBhvr>
                                      <p:to>
                                        <p:strVal val="visible"/>
                                      </p:to>
                                    </p:set>
                                    <p:animEffect transition="in" filter="fade">
                                      <p:cBhvr>
                                        <p:cTn id="77" dur="500"/>
                                        <p:tgtEl>
                                          <p:spTgt spid="237"/>
                                        </p:tgtEl>
                                      </p:cBhvr>
                                    </p:animEffect>
                                  </p:childTnLst>
                                </p:cTn>
                              </p:par>
                            </p:childTnLst>
                          </p:cTn>
                        </p:par>
                        <p:par>
                          <p:cTn id="78" fill="hold">
                            <p:stCondLst>
                              <p:cond delay="2500"/>
                            </p:stCondLst>
                            <p:childTnLst>
                              <p:par>
                                <p:cTn id="79" presetID="10" presetClass="entr" presetSubtype="0" fill="hold" grpId="0" nodeType="afterEffect">
                                  <p:stCondLst>
                                    <p:cond delay="0"/>
                                  </p:stCondLst>
                                  <p:childTnLst>
                                    <p:set>
                                      <p:cBhvr>
                                        <p:cTn id="80" dur="1" fill="hold">
                                          <p:stCondLst>
                                            <p:cond delay="0"/>
                                          </p:stCondLst>
                                        </p:cTn>
                                        <p:tgtEl>
                                          <p:spTgt spid="290"/>
                                        </p:tgtEl>
                                        <p:attrNameLst>
                                          <p:attrName>style.visibility</p:attrName>
                                        </p:attrNameLst>
                                      </p:cBhvr>
                                      <p:to>
                                        <p:strVal val="visible"/>
                                      </p:to>
                                    </p:set>
                                    <p:animEffect transition="in" filter="fade">
                                      <p:cBhvr>
                                        <p:cTn id="81" dur="500"/>
                                        <p:tgtEl>
                                          <p:spTgt spid="290"/>
                                        </p:tgtEl>
                                      </p:cBhvr>
                                    </p:animEffect>
                                  </p:childTnLst>
                                </p:cTn>
                              </p:par>
                            </p:childTnLst>
                          </p:cTn>
                        </p:par>
                      </p:childTnLst>
                    </p:cTn>
                  </p:par>
                  <p:par>
                    <p:cTn id="82" fill="hold">
                      <p:stCondLst>
                        <p:cond delay="indefinite"/>
                      </p:stCondLst>
                      <p:childTnLst>
                        <p:par>
                          <p:cTn id="83" fill="hold">
                            <p:stCondLst>
                              <p:cond delay="0"/>
                            </p:stCondLst>
                            <p:childTnLst>
                              <p:par>
                                <p:cTn id="84" presetID="47" presetClass="entr" presetSubtype="0" fill="hold" nodeType="clickEffect">
                                  <p:stCondLst>
                                    <p:cond delay="0"/>
                                  </p:stCondLst>
                                  <p:childTnLst>
                                    <p:set>
                                      <p:cBhvr>
                                        <p:cTn id="85" dur="1" fill="hold">
                                          <p:stCondLst>
                                            <p:cond delay="0"/>
                                          </p:stCondLst>
                                        </p:cTn>
                                        <p:tgtEl>
                                          <p:spTgt spid="443"/>
                                        </p:tgtEl>
                                        <p:attrNameLst>
                                          <p:attrName>style.visibility</p:attrName>
                                        </p:attrNameLst>
                                      </p:cBhvr>
                                      <p:to>
                                        <p:strVal val="visible"/>
                                      </p:to>
                                    </p:set>
                                    <p:animEffect transition="in" filter="fade">
                                      <p:cBhvr>
                                        <p:cTn id="86" dur="1000"/>
                                        <p:tgtEl>
                                          <p:spTgt spid="443"/>
                                        </p:tgtEl>
                                      </p:cBhvr>
                                    </p:animEffect>
                                    <p:anim calcmode="lin" valueType="num">
                                      <p:cBhvr>
                                        <p:cTn id="87" dur="1000" fill="hold"/>
                                        <p:tgtEl>
                                          <p:spTgt spid="443"/>
                                        </p:tgtEl>
                                        <p:attrNameLst>
                                          <p:attrName>ppt_x</p:attrName>
                                        </p:attrNameLst>
                                      </p:cBhvr>
                                      <p:tavLst>
                                        <p:tav tm="0">
                                          <p:val>
                                            <p:strVal val="#ppt_x"/>
                                          </p:val>
                                        </p:tav>
                                        <p:tav tm="100000">
                                          <p:val>
                                            <p:strVal val="#ppt_x"/>
                                          </p:val>
                                        </p:tav>
                                      </p:tavLst>
                                    </p:anim>
                                    <p:anim calcmode="lin" valueType="num">
                                      <p:cBhvr>
                                        <p:cTn id="88" dur="1000" fill="hold"/>
                                        <p:tgtEl>
                                          <p:spTgt spid="443"/>
                                        </p:tgtEl>
                                        <p:attrNameLst>
                                          <p:attrName>ppt_y</p:attrName>
                                        </p:attrNameLst>
                                      </p:cBhvr>
                                      <p:tavLst>
                                        <p:tav tm="0">
                                          <p:val>
                                            <p:strVal val="#ppt_y-.1"/>
                                          </p:val>
                                        </p:tav>
                                        <p:tav tm="100000">
                                          <p:val>
                                            <p:strVal val="#ppt_y"/>
                                          </p:val>
                                        </p:tav>
                                      </p:tavLst>
                                    </p:anim>
                                  </p:childTnLst>
                                </p:cTn>
                              </p:par>
                              <p:par>
                                <p:cTn id="89" presetID="47" presetClass="entr" presetSubtype="0" fill="hold" grpId="0" nodeType="withEffect">
                                  <p:stCondLst>
                                    <p:cond delay="0"/>
                                  </p:stCondLst>
                                  <p:childTnLst>
                                    <p:set>
                                      <p:cBhvr>
                                        <p:cTn id="90" dur="1" fill="hold">
                                          <p:stCondLst>
                                            <p:cond delay="0"/>
                                          </p:stCondLst>
                                        </p:cTn>
                                        <p:tgtEl>
                                          <p:spTgt spid="202"/>
                                        </p:tgtEl>
                                        <p:attrNameLst>
                                          <p:attrName>style.visibility</p:attrName>
                                        </p:attrNameLst>
                                      </p:cBhvr>
                                      <p:to>
                                        <p:strVal val="visible"/>
                                      </p:to>
                                    </p:set>
                                    <p:animEffect transition="in" filter="fade">
                                      <p:cBhvr>
                                        <p:cTn id="91" dur="1000"/>
                                        <p:tgtEl>
                                          <p:spTgt spid="202"/>
                                        </p:tgtEl>
                                      </p:cBhvr>
                                    </p:animEffect>
                                    <p:anim calcmode="lin" valueType="num">
                                      <p:cBhvr>
                                        <p:cTn id="92" dur="1000" fill="hold"/>
                                        <p:tgtEl>
                                          <p:spTgt spid="202"/>
                                        </p:tgtEl>
                                        <p:attrNameLst>
                                          <p:attrName>ppt_x</p:attrName>
                                        </p:attrNameLst>
                                      </p:cBhvr>
                                      <p:tavLst>
                                        <p:tav tm="0">
                                          <p:val>
                                            <p:strVal val="#ppt_x"/>
                                          </p:val>
                                        </p:tav>
                                        <p:tav tm="100000">
                                          <p:val>
                                            <p:strVal val="#ppt_x"/>
                                          </p:val>
                                        </p:tav>
                                      </p:tavLst>
                                    </p:anim>
                                    <p:anim calcmode="lin" valueType="num">
                                      <p:cBhvr>
                                        <p:cTn id="93" dur="1000" fill="hold"/>
                                        <p:tgtEl>
                                          <p:spTgt spid="202"/>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nodeType="clickEffect">
                                  <p:stCondLst>
                                    <p:cond delay="0"/>
                                  </p:stCondLst>
                                  <p:childTnLst>
                                    <p:set>
                                      <p:cBhvr>
                                        <p:cTn id="97" dur="1" fill="hold">
                                          <p:stCondLst>
                                            <p:cond delay="0"/>
                                          </p:stCondLst>
                                        </p:cTn>
                                        <p:tgtEl>
                                          <p:spTgt spid="433"/>
                                        </p:tgtEl>
                                        <p:attrNameLst>
                                          <p:attrName>style.visibility</p:attrName>
                                        </p:attrNameLst>
                                      </p:cBhvr>
                                      <p:to>
                                        <p:strVal val="visible"/>
                                      </p:to>
                                    </p:set>
                                    <p:animEffect transition="in" filter="fade">
                                      <p:cBhvr>
                                        <p:cTn id="98" dur="1000"/>
                                        <p:tgtEl>
                                          <p:spTgt spid="433"/>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422"/>
                                        </p:tgtEl>
                                        <p:attrNameLst>
                                          <p:attrName>style.visibility</p:attrName>
                                        </p:attrNameLst>
                                      </p:cBhvr>
                                      <p:to>
                                        <p:strVal val="visible"/>
                                      </p:to>
                                    </p:set>
                                    <p:animEffect transition="in" filter="fade">
                                      <p:cBhvr>
                                        <p:cTn id="101" dur="500"/>
                                        <p:tgtEl>
                                          <p:spTgt spid="422"/>
                                        </p:tgtEl>
                                      </p:cBhvr>
                                    </p:animEffect>
                                  </p:childTnLst>
                                </p:cTn>
                              </p:par>
                            </p:childTnLst>
                          </p:cTn>
                        </p:par>
                        <p:par>
                          <p:cTn id="102" fill="hold">
                            <p:stCondLst>
                              <p:cond delay="1000"/>
                            </p:stCondLst>
                            <p:childTnLst>
                              <p:par>
                                <p:cTn id="103" presetID="10" presetClass="entr" presetSubtype="0" fill="hold" nodeType="afterEffect">
                                  <p:stCondLst>
                                    <p:cond delay="500"/>
                                  </p:stCondLst>
                                  <p:childTnLst>
                                    <p:set>
                                      <p:cBhvr>
                                        <p:cTn id="104" dur="1" fill="hold">
                                          <p:stCondLst>
                                            <p:cond delay="0"/>
                                          </p:stCondLst>
                                        </p:cTn>
                                        <p:tgtEl>
                                          <p:spTgt spid="408"/>
                                        </p:tgtEl>
                                        <p:attrNameLst>
                                          <p:attrName>style.visibility</p:attrName>
                                        </p:attrNameLst>
                                      </p:cBhvr>
                                      <p:to>
                                        <p:strVal val="visible"/>
                                      </p:to>
                                    </p:set>
                                    <p:animEffect transition="in" filter="fade">
                                      <p:cBhvr>
                                        <p:cTn id="105" dur="500"/>
                                        <p:tgtEl>
                                          <p:spTgt spid="408"/>
                                        </p:tgtEl>
                                      </p:cBhvr>
                                    </p:animEffect>
                                  </p:childTnLst>
                                </p:cTn>
                              </p:par>
                              <p:par>
                                <p:cTn id="106" presetID="10" presetClass="entr" presetSubtype="0" fill="hold" nodeType="withEffect">
                                  <p:stCondLst>
                                    <p:cond delay="500"/>
                                  </p:stCondLst>
                                  <p:childTnLst>
                                    <p:set>
                                      <p:cBhvr>
                                        <p:cTn id="107" dur="1" fill="hold">
                                          <p:stCondLst>
                                            <p:cond delay="0"/>
                                          </p:stCondLst>
                                        </p:cTn>
                                        <p:tgtEl>
                                          <p:spTgt spid="358"/>
                                        </p:tgtEl>
                                        <p:attrNameLst>
                                          <p:attrName>style.visibility</p:attrName>
                                        </p:attrNameLst>
                                      </p:cBhvr>
                                      <p:to>
                                        <p:strVal val="visible"/>
                                      </p:to>
                                    </p:set>
                                    <p:animEffect transition="in" filter="fade">
                                      <p:cBhvr>
                                        <p:cTn id="108" dur="500"/>
                                        <p:tgtEl>
                                          <p:spTgt spid="358"/>
                                        </p:tgtEl>
                                      </p:cBhvr>
                                    </p:animEffect>
                                  </p:childTnLst>
                                </p:cTn>
                              </p:par>
                              <p:par>
                                <p:cTn id="109" presetID="10" presetClass="entr" presetSubtype="0" fill="hold" nodeType="withEffect">
                                  <p:stCondLst>
                                    <p:cond delay="500"/>
                                  </p:stCondLst>
                                  <p:childTnLst>
                                    <p:set>
                                      <p:cBhvr>
                                        <p:cTn id="110" dur="1" fill="hold">
                                          <p:stCondLst>
                                            <p:cond delay="0"/>
                                          </p:stCondLst>
                                        </p:cTn>
                                        <p:tgtEl>
                                          <p:spTgt spid="407"/>
                                        </p:tgtEl>
                                        <p:attrNameLst>
                                          <p:attrName>style.visibility</p:attrName>
                                        </p:attrNameLst>
                                      </p:cBhvr>
                                      <p:to>
                                        <p:strVal val="visible"/>
                                      </p:to>
                                    </p:set>
                                    <p:animEffect transition="in" filter="fade">
                                      <p:cBhvr>
                                        <p:cTn id="111" dur="500"/>
                                        <p:tgtEl>
                                          <p:spTgt spid="407"/>
                                        </p:tgtEl>
                                      </p:cBhvr>
                                    </p:animEffect>
                                  </p:childTnLst>
                                </p:cTn>
                              </p:par>
                              <p:par>
                                <p:cTn id="112" presetID="10" presetClass="entr" presetSubtype="0" fill="hold" nodeType="withEffect">
                                  <p:stCondLst>
                                    <p:cond delay="500"/>
                                  </p:stCondLst>
                                  <p:childTnLst>
                                    <p:set>
                                      <p:cBhvr>
                                        <p:cTn id="113" dur="1" fill="hold">
                                          <p:stCondLst>
                                            <p:cond delay="0"/>
                                          </p:stCondLst>
                                        </p:cTn>
                                        <p:tgtEl>
                                          <p:spTgt spid="363"/>
                                        </p:tgtEl>
                                        <p:attrNameLst>
                                          <p:attrName>style.visibility</p:attrName>
                                        </p:attrNameLst>
                                      </p:cBhvr>
                                      <p:to>
                                        <p:strVal val="visible"/>
                                      </p:to>
                                    </p:set>
                                    <p:animEffect transition="in" filter="fade">
                                      <p:cBhvr>
                                        <p:cTn id="114" dur="500"/>
                                        <p:tgtEl>
                                          <p:spTgt spid="363"/>
                                        </p:tgtEl>
                                      </p:cBhvr>
                                    </p:animEffect>
                                  </p:childTnLst>
                                </p:cTn>
                              </p:par>
                              <p:par>
                                <p:cTn id="115" presetID="10" presetClass="entr" presetSubtype="0" fill="hold" grpId="0" nodeType="withEffect">
                                  <p:stCondLst>
                                    <p:cond delay="500"/>
                                  </p:stCondLst>
                                  <p:childTnLst>
                                    <p:set>
                                      <p:cBhvr>
                                        <p:cTn id="116" dur="1" fill="hold">
                                          <p:stCondLst>
                                            <p:cond delay="0"/>
                                          </p:stCondLst>
                                        </p:cTn>
                                        <p:tgtEl>
                                          <p:spTgt spid="413"/>
                                        </p:tgtEl>
                                        <p:attrNameLst>
                                          <p:attrName>style.visibility</p:attrName>
                                        </p:attrNameLst>
                                      </p:cBhvr>
                                      <p:to>
                                        <p:strVal val="visible"/>
                                      </p:to>
                                    </p:set>
                                    <p:animEffect transition="in" filter="fade">
                                      <p:cBhvr>
                                        <p:cTn id="117" dur="500"/>
                                        <p:tgtEl>
                                          <p:spTgt spid="413"/>
                                        </p:tgtEl>
                                      </p:cBhvr>
                                    </p:animEffect>
                                  </p:childTnLst>
                                </p:cTn>
                              </p:par>
                            </p:childTnLst>
                          </p:cTn>
                        </p:par>
                        <p:par>
                          <p:cTn id="118" fill="hold">
                            <p:stCondLst>
                              <p:cond delay="2000"/>
                            </p:stCondLst>
                            <p:childTnLst>
                              <p:par>
                                <p:cTn id="119" presetID="10" presetClass="entr" presetSubtype="0" fill="hold" grpId="0" nodeType="afterEffect">
                                  <p:stCondLst>
                                    <p:cond delay="0"/>
                                  </p:stCondLst>
                                  <p:childTnLst>
                                    <p:set>
                                      <p:cBhvr>
                                        <p:cTn id="120" dur="1" fill="hold">
                                          <p:stCondLst>
                                            <p:cond delay="0"/>
                                          </p:stCondLst>
                                        </p:cTn>
                                        <p:tgtEl>
                                          <p:spTgt spid="414"/>
                                        </p:tgtEl>
                                        <p:attrNameLst>
                                          <p:attrName>style.visibility</p:attrName>
                                        </p:attrNameLst>
                                      </p:cBhvr>
                                      <p:to>
                                        <p:strVal val="visible"/>
                                      </p:to>
                                    </p:set>
                                    <p:animEffect transition="in" filter="fade">
                                      <p:cBhvr>
                                        <p:cTn id="121" dur="500"/>
                                        <p:tgtEl>
                                          <p:spTgt spid="414"/>
                                        </p:tgtEl>
                                      </p:cBhvr>
                                    </p:animEffect>
                                  </p:childTnLst>
                                </p:cTn>
                              </p:par>
                              <p:par>
                                <p:cTn id="122" presetID="10" presetClass="entr" presetSubtype="0" fill="hold" nodeType="withEffect">
                                  <p:stCondLst>
                                    <p:cond delay="0"/>
                                  </p:stCondLst>
                                  <p:childTnLst>
                                    <p:set>
                                      <p:cBhvr>
                                        <p:cTn id="123" dur="1" fill="hold">
                                          <p:stCondLst>
                                            <p:cond delay="0"/>
                                          </p:stCondLst>
                                        </p:cTn>
                                        <p:tgtEl>
                                          <p:spTgt spid="397"/>
                                        </p:tgtEl>
                                        <p:attrNameLst>
                                          <p:attrName>style.visibility</p:attrName>
                                        </p:attrNameLst>
                                      </p:cBhvr>
                                      <p:to>
                                        <p:strVal val="visible"/>
                                      </p:to>
                                    </p:set>
                                    <p:animEffect transition="in" filter="fade">
                                      <p:cBhvr>
                                        <p:cTn id="124" dur="500"/>
                                        <p:tgtEl>
                                          <p:spTgt spid="397"/>
                                        </p:tgtEl>
                                      </p:cBhvr>
                                    </p:animEffect>
                                  </p:childTnLst>
                                </p:cTn>
                              </p:par>
                            </p:childTnLst>
                          </p:cTn>
                        </p:par>
                        <p:par>
                          <p:cTn id="125" fill="hold">
                            <p:stCondLst>
                              <p:cond delay="2500"/>
                            </p:stCondLst>
                            <p:childTnLst>
                              <p:par>
                                <p:cTn id="126" presetID="10" presetClass="entr" presetSubtype="0" fill="hold" nodeType="afterEffect">
                                  <p:stCondLst>
                                    <p:cond delay="500"/>
                                  </p:stCondLst>
                                  <p:childTnLst>
                                    <p:set>
                                      <p:cBhvr>
                                        <p:cTn id="127" dur="1" fill="hold">
                                          <p:stCondLst>
                                            <p:cond delay="0"/>
                                          </p:stCondLst>
                                        </p:cTn>
                                        <p:tgtEl>
                                          <p:spTgt spid="396"/>
                                        </p:tgtEl>
                                        <p:attrNameLst>
                                          <p:attrName>style.visibility</p:attrName>
                                        </p:attrNameLst>
                                      </p:cBhvr>
                                      <p:to>
                                        <p:strVal val="visible"/>
                                      </p:to>
                                    </p:set>
                                    <p:animEffect transition="in" filter="fade">
                                      <p:cBhvr>
                                        <p:cTn id="128" dur="500"/>
                                        <p:tgtEl>
                                          <p:spTgt spid="396"/>
                                        </p:tgtEl>
                                      </p:cBhvr>
                                    </p:animEffect>
                                  </p:childTnLst>
                                </p:cTn>
                              </p:par>
                            </p:childTnLst>
                          </p:cTn>
                        </p:par>
                        <p:par>
                          <p:cTn id="129" fill="hold">
                            <p:stCondLst>
                              <p:cond delay="3500"/>
                            </p:stCondLst>
                            <p:childTnLst>
                              <p:par>
                                <p:cTn id="130" presetID="10" presetClass="entr" presetSubtype="0" fill="hold" grpId="0" nodeType="afterEffect">
                                  <p:stCondLst>
                                    <p:cond delay="0"/>
                                  </p:stCondLst>
                                  <p:childTnLst>
                                    <p:set>
                                      <p:cBhvr>
                                        <p:cTn id="131" dur="1" fill="hold">
                                          <p:stCondLst>
                                            <p:cond delay="0"/>
                                          </p:stCondLst>
                                        </p:cTn>
                                        <p:tgtEl>
                                          <p:spTgt spid="416"/>
                                        </p:tgtEl>
                                        <p:attrNameLst>
                                          <p:attrName>style.visibility</p:attrName>
                                        </p:attrNameLst>
                                      </p:cBhvr>
                                      <p:to>
                                        <p:strVal val="visible"/>
                                      </p:to>
                                    </p:set>
                                    <p:animEffect transition="in" filter="fade">
                                      <p:cBhvr>
                                        <p:cTn id="132" dur="500"/>
                                        <p:tgtEl>
                                          <p:spTgt spid="416"/>
                                        </p:tgtEl>
                                      </p:cBhvr>
                                    </p:animEffect>
                                  </p:childTnLst>
                                </p:cTn>
                              </p:par>
                            </p:childTnLst>
                          </p:cTn>
                        </p:par>
                        <p:par>
                          <p:cTn id="133" fill="hold">
                            <p:stCondLst>
                              <p:cond delay="4000"/>
                            </p:stCondLst>
                            <p:childTnLst>
                              <p:par>
                                <p:cTn id="134" presetID="10" presetClass="entr" presetSubtype="0" fill="hold" nodeType="afterEffect">
                                  <p:stCondLst>
                                    <p:cond delay="0"/>
                                  </p:stCondLst>
                                  <p:childTnLst>
                                    <p:set>
                                      <p:cBhvr>
                                        <p:cTn id="135" dur="1" fill="hold">
                                          <p:stCondLst>
                                            <p:cond delay="0"/>
                                          </p:stCondLst>
                                        </p:cTn>
                                        <p:tgtEl>
                                          <p:spTgt spid="409"/>
                                        </p:tgtEl>
                                        <p:attrNameLst>
                                          <p:attrName>style.visibility</p:attrName>
                                        </p:attrNameLst>
                                      </p:cBhvr>
                                      <p:to>
                                        <p:strVal val="visible"/>
                                      </p:to>
                                    </p:set>
                                    <p:animEffect transition="in" filter="fade">
                                      <p:cBhvr>
                                        <p:cTn id="136" dur="500"/>
                                        <p:tgtEl>
                                          <p:spTgt spid="409"/>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400"/>
                                        </p:tgtEl>
                                        <p:attrNameLst>
                                          <p:attrName>style.visibility</p:attrName>
                                        </p:attrNameLst>
                                      </p:cBhvr>
                                      <p:to>
                                        <p:strVal val="visible"/>
                                      </p:to>
                                    </p:set>
                                    <p:animEffect transition="in" filter="fade">
                                      <p:cBhvr>
                                        <p:cTn id="139" dur="500"/>
                                        <p:tgtEl>
                                          <p:spTgt spid="400"/>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415"/>
                                        </p:tgtEl>
                                        <p:attrNameLst>
                                          <p:attrName>style.visibility</p:attrName>
                                        </p:attrNameLst>
                                      </p:cBhvr>
                                      <p:to>
                                        <p:strVal val="visible"/>
                                      </p:to>
                                    </p:set>
                                    <p:animEffect transition="in" filter="fade">
                                      <p:cBhvr>
                                        <p:cTn id="144" dur="500"/>
                                        <p:tgtEl>
                                          <p:spTgt spid="415"/>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398"/>
                                        </p:tgtEl>
                                        <p:attrNameLst>
                                          <p:attrName>style.visibility</p:attrName>
                                        </p:attrNameLst>
                                      </p:cBhvr>
                                      <p:to>
                                        <p:strVal val="visible"/>
                                      </p:to>
                                    </p:set>
                                    <p:animEffect transition="in" filter="fade">
                                      <p:cBhvr>
                                        <p:cTn id="147" dur="500"/>
                                        <p:tgtEl>
                                          <p:spTgt spid="398"/>
                                        </p:tgtEl>
                                      </p:cBhvr>
                                    </p:animEffect>
                                  </p:childTnLst>
                                </p:cTn>
                              </p:par>
                            </p:childTnLst>
                          </p:cTn>
                        </p:par>
                        <p:par>
                          <p:cTn id="148" fill="hold">
                            <p:stCondLst>
                              <p:cond delay="500"/>
                            </p:stCondLst>
                            <p:childTnLst>
                              <p:par>
                                <p:cTn id="149" presetID="10" presetClass="entr" presetSubtype="0" fill="hold" nodeType="afterEffect">
                                  <p:stCondLst>
                                    <p:cond delay="0"/>
                                  </p:stCondLst>
                                  <p:childTnLst>
                                    <p:set>
                                      <p:cBhvr>
                                        <p:cTn id="150" dur="1" fill="hold">
                                          <p:stCondLst>
                                            <p:cond delay="0"/>
                                          </p:stCondLst>
                                        </p:cTn>
                                        <p:tgtEl>
                                          <p:spTgt spid="357"/>
                                        </p:tgtEl>
                                        <p:attrNameLst>
                                          <p:attrName>style.visibility</p:attrName>
                                        </p:attrNameLst>
                                      </p:cBhvr>
                                      <p:to>
                                        <p:strVal val="visible"/>
                                      </p:to>
                                    </p:set>
                                    <p:animEffect transition="in" filter="fade">
                                      <p:cBhvr>
                                        <p:cTn id="151" dur="500"/>
                                        <p:tgtEl>
                                          <p:spTgt spid="357"/>
                                        </p:tgtEl>
                                      </p:cBhvr>
                                    </p:animEffect>
                                  </p:childTnLst>
                                </p:cTn>
                              </p:par>
                            </p:childTnLst>
                          </p:cTn>
                        </p:par>
                        <p:par>
                          <p:cTn id="152" fill="hold">
                            <p:stCondLst>
                              <p:cond delay="1000"/>
                            </p:stCondLst>
                            <p:childTnLst>
                              <p:par>
                                <p:cTn id="153" presetID="10" presetClass="entr" presetSubtype="0" fill="hold" grpId="0" nodeType="afterEffect">
                                  <p:stCondLst>
                                    <p:cond delay="0"/>
                                  </p:stCondLst>
                                  <p:childTnLst>
                                    <p:set>
                                      <p:cBhvr>
                                        <p:cTn id="154" dur="1" fill="hold">
                                          <p:stCondLst>
                                            <p:cond delay="0"/>
                                          </p:stCondLst>
                                        </p:cTn>
                                        <p:tgtEl>
                                          <p:spTgt spid="401"/>
                                        </p:tgtEl>
                                        <p:attrNameLst>
                                          <p:attrName>style.visibility</p:attrName>
                                        </p:attrNameLst>
                                      </p:cBhvr>
                                      <p:to>
                                        <p:strVal val="visible"/>
                                      </p:to>
                                    </p:set>
                                    <p:animEffect transition="in" filter="fade">
                                      <p:cBhvr>
                                        <p:cTn id="155" dur="500"/>
                                        <p:tgtEl>
                                          <p:spTgt spid="401"/>
                                        </p:tgtEl>
                                      </p:cBhvr>
                                    </p:animEffect>
                                  </p:childTnLst>
                                </p:cTn>
                              </p:par>
                            </p:childTnLst>
                          </p:cTn>
                        </p:par>
                        <p:par>
                          <p:cTn id="156" fill="hold">
                            <p:stCondLst>
                              <p:cond delay="1500"/>
                            </p:stCondLst>
                            <p:childTnLst>
                              <p:par>
                                <p:cTn id="157" presetID="10" presetClass="entr" presetSubtype="0" fill="hold" nodeType="afterEffect">
                                  <p:stCondLst>
                                    <p:cond delay="0"/>
                                  </p:stCondLst>
                                  <p:childTnLst>
                                    <p:set>
                                      <p:cBhvr>
                                        <p:cTn id="158" dur="1" fill="hold">
                                          <p:stCondLst>
                                            <p:cond delay="0"/>
                                          </p:stCondLst>
                                        </p:cTn>
                                        <p:tgtEl>
                                          <p:spTgt spid="402"/>
                                        </p:tgtEl>
                                        <p:attrNameLst>
                                          <p:attrName>style.visibility</p:attrName>
                                        </p:attrNameLst>
                                      </p:cBhvr>
                                      <p:to>
                                        <p:strVal val="visible"/>
                                      </p:to>
                                    </p:set>
                                    <p:animEffect transition="in" filter="fade">
                                      <p:cBhvr>
                                        <p:cTn id="159" dur="500"/>
                                        <p:tgtEl>
                                          <p:spTgt spid="402"/>
                                        </p:tgtEl>
                                      </p:cBhvr>
                                    </p:animEffect>
                                  </p:childTnLst>
                                </p:cTn>
                              </p:par>
                              <p:par>
                                <p:cTn id="160" presetID="10" presetClass="entr" presetSubtype="0" fill="hold" nodeType="withEffect">
                                  <p:stCondLst>
                                    <p:cond delay="0"/>
                                  </p:stCondLst>
                                  <p:childTnLst>
                                    <p:set>
                                      <p:cBhvr>
                                        <p:cTn id="161" dur="1" fill="hold">
                                          <p:stCondLst>
                                            <p:cond delay="0"/>
                                          </p:stCondLst>
                                        </p:cTn>
                                        <p:tgtEl>
                                          <p:spTgt spid="460"/>
                                        </p:tgtEl>
                                        <p:attrNameLst>
                                          <p:attrName>style.visibility</p:attrName>
                                        </p:attrNameLst>
                                      </p:cBhvr>
                                      <p:to>
                                        <p:strVal val="visible"/>
                                      </p:to>
                                    </p:set>
                                    <p:animEffect transition="in" filter="fade">
                                      <p:cBhvr>
                                        <p:cTn id="162" dur="500"/>
                                        <p:tgtEl>
                                          <p:spTgt spid="460"/>
                                        </p:tgtEl>
                                      </p:cBhvr>
                                    </p:animEffect>
                                  </p:childTnLst>
                                </p:cTn>
                              </p:par>
                            </p:childTnLst>
                          </p:cTn>
                        </p:par>
                        <p:par>
                          <p:cTn id="163" fill="hold">
                            <p:stCondLst>
                              <p:cond delay="2000"/>
                            </p:stCondLst>
                            <p:childTnLst>
                              <p:par>
                                <p:cTn id="164" presetID="10" presetClass="entr" presetSubtype="0" fill="hold" nodeType="afterEffect">
                                  <p:stCondLst>
                                    <p:cond delay="0"/>
                                  </p:stCondLst>
                                  <p:childTnLst>
                                    <p:set>
                                      <p:cBhvr>
                                        <p:cTn id="165" dur="1" fill="hold">
                                          <p:stCondLst>
                                            <p:cond delay="0"/>
                                          </p:stCondLst>
                                        </p:cTn>
                                        <p:tgtEl>
                                          <p:spTgt spid="405"/>
                                        </p:tgtEl>
                                        <p:attrNameLst>
                                          <p:attrName>style.visibility</p:attrName>
                                        </p:attrNameLst>
                                      </p:cBhvr>
                                      <p:to>
                                        <p:strVal val="visible"/>
                                      </p:to>
                                    </p:set>
                                    <p:animEffect transition="in" filter="fade">
                                      <p:cBhvr>
                                        <p:cTn id="166" dur="500"/>
                                        <p:tgtEl>
                                          <p:spTgt spid="405"/>
                                        </p:tgtEl>
                                      </p:cBhvr>
                                    </p:animEffect>
                                  </p:childTnLst>
                                </p:cTn>
                              </p:par>
                            </p:childTnLst>
                          </p:cTn>
                        </p:par>
                        <p:par>
                          <p:cTn id="167" fill="hold">
                            <p:stCondLst>
                              <p:cond delay="2500"/>
                            </p:stCondLst>
                            <p:childTnLst>
                              <p:par>
                                <p:cTn id="168" presetID="10" presetClass="entr" presetSubtype="0" fill="hold" grpId="0" nodeType="afterEffect">
                                  <p:stCondLst>
                                    <p:cond delay="0"/>
                                  </p:stCondLst>
                                  <p:childTnLst>
                                    <p:set>
                                      <p:cBhvr>
                                        <p:cTn id="169" dur="1" fill="hold">
                                          <p:stCondLst>
                                            <p:cond delay="0"/>
                                          </p:stCondLst>
                                        </p:cTn>
                                        <p:tgtEl>
                                          <p:spTgt spid="406"/>
                                        </p:tgtEl>
                                        <p:attrNameLst>
                                          <p:attrName>style.visibility</p:attrName>
                                        </p:attrNameLst>
                                      </p:cBhvr>
                                      <p:to>
                                        <p:strVal val="visible"/>
                                      </p:to>
                                    </p:set>
                                    <p:animEffect transition="in" filter="fade">
                                      <p:cBhvr>
                                        <p:cTn id="170" dur="500"/>
                                        <p:tgtEl>
                                          <p:spTgt spid="406"/>
                                        </p:tgtEl>
                                      </p:cBhvr>
                                    </p:animEffect>
                                  </p:childTnLst>
                                </p:cTn>
                              </p:par>
                            </p:childTnLst>
                          </p:cTn>
                        </p:par>
                      </p:childTnLst>
                    </p:cTn>
                  </p:par>
                  <p:par>
                    <p:cTn id="171" fill="hold">
                      <p:stCondLst>
                        <p:cond delay="indefinite"/>
                      </p:stCondLst>
                      <p:childTnLst>
                        <p:par>
                          <p:cTn id="172" fill="hold">
                            <p:stCondLst>
                              <p:cond delay="0"/>
                            </p:stCondLst>
                            <p:childTnLst>
                              <p:par>
                                <p:cTn id="173" presetID="47" presetClass="entr" presetSubtype="0" fill="hold" nodeType="clickEffect">
                                  <p:stCondLst>
                                    <p:cond delay="0"/>
                                  </p:stCondLst>
                                  <p:childTnLst>
                                    <p:set>
                                      <p:cBhvr>
                                        <p:cTn id="174" dur="1" fill="hold">
                                          <p:stCondLst>
                                            <p:cond delay="0"/>
                                          </p:stCondLst>
                                        </p:cTn>
                                        <p:tgtEl>
                                          <p:spTgt spid="450"/>
                                        </p:tgtEl>
                                        <p:attrNameLst>
                                          <p:attrName>style.visibility</p:attrName>
                                        </p:attrNameLst>
                                      </p:cBhvr>
                                      <p:to>
                                        <p:strVal val="visible"/>
                                      </p:to>
                                    </p:set>
                                    <p:animEffect transition="in" filter="fade">
                                      <p:cBhvr>
                                        <p:cTn id="175" dur="1000"/>
                                        <p:tgtEl>
                                          <p:spTgt spid="450"/>
                                        </p:tgtEl>
                                      </p:cBhvr>
                                    </p:animEffect>
                                    <p:anim calcmode="lin" valueType="num">
                                      <p:cBhvr>
                                        <p:cTn id="176" dur="1000" fill="hold"/>
                                        <p:tgtEl>
                                          <p:spTgt spid="450"/>
                                        </p:tgtEl>
                                        <p:attrNameLst>
                                          <p:attrName>ppt_x</p:attrName>
                                        </p:attrNameLst>
                                      </p:cBhvr>
                                      <p:tavLst>
                                        <p:tav tm="0">
                                          <p:val>
                                            <p:strVal val="#ppt_x"/>
                                          </p:val>
                                        </p:tav>
                                        <p:tav tm="100000">
                                          <p:val>
                                            <p:strVal val="#ppt_x"/>
                                          </p:val>
                                        </p:tav>
                                      </p:tavLst>
                                    </p:anim>
                                    <p:anim calcmode="lin" valueType="num">
                                      <p:cBhvr>
                                        <p:cTn id="177" dur="1000" fill="hold"/>
                                        <p:tgtEl>
                                          <p:spTgt spid="450"/>
                                        </p:tgtEl>
                                        <p:attrNameLst>
                                          <p:attrName>ppt_y</p:attrName>
                                        </p:attrNameLst>
                                      </p:cBhvr>
                                      <p:tavLst>
                                        <p:tav tm="0">
                                          <p:val>
                                            <p:strVal val="#ppt_y-.1"/>
                                          </p:val>
                                        </p:tav>
                                        <p:tav tm="100000">
                                          <p:val>
                                            <p:strVal val="#ppt_y"/>
                                          </p:val>
                                        </p:tav>
                                      </p:tavLst>
                                    </p:anim>
                                  </p:childTnLst>
                                </p:cTn>
                              </p:par>
                              <p:par>
                                <p:cTn id="178" presetID="47" presetClass="entr" presetSubtype="0" fill="hold" grpId="0" nodeType="withEffect">
                                  <p:stCondLst>
                                    <p:cond delay="0"/>
                                  </p:stCondLst>
                                  <p:childTnLst>
                                    <p:set>
                                      <p:cBhvr>
                                        <p:cTn id="179" dur="1" fill="hold">
                                          <p:stCondLst>
                                            <p:cond delay="0"/>
                                          </p:stCondLst>
                                        </p:cTn>
                                        <p:tgtEl>
                                          <p:spTgt spid="296"/>
                                        </p:tgtEl>
                                        <p:attrNameLst>
                                          <p:attrName>style.visibility</p:attrName>
                                        </p:attrNameLst>
                                      </p:cBhvr>
                                      <p:to>
                                        <p:strVal val="visible"/>
                                      </p:to>
                                    </p:set>
                                    <p:animEffect transition="in" filter="fade">
                                      <p:cBhvr>
                                        <p:cTn id="180" dur="1000"/>
                                        <p:tgtEl>
                                          <p:spTgt spid="296"/>
                                        </p:tgtEl>
                                      </p:cBhvr>
                                    </p:animEffect>
                                    <p:anim calcmode="lin" valueType="num">
                                      <p:cBhvr>
                                        <p:cTn id="181" dur="1000" fill="hold"/>
                                        <p:tgtEl>
                                          <p:spTgt spid="296"/>
                                        </p:tgtEl>
                                        <p:attrNameLst>
                                          <p:attrName>ppt_x</p:attrName>
                                        </p:attrNameLst>
                                      </p:cBhvr>
                                      <p:tavLst>
                                        <p:tav tm="0">
                                          <p:val>
                                            <p:strVal val="#ppt_x"/>
                                          </p:val>
                                        </p:tav>
                                        <p:tav tm="100000">
                                          <p:val>
                                            <p:strVal val="#ppt_x"/>
                                          </p:val>
                                        </p:tav>
                                      </p:tavLst>
                                    </p:anim>
                                    <p:anim calcmode="lin" valueType="num">
                                      <p:cBhvr>
                                        <p:cTn id="182" dur="1000" fill="hold"/>
                                        <p:tgtEl>
                                          <p:spTgt spid="29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6" grpId="0"/>
      <p:bldP spid="198" grpId="0" animBg="1"/>
      <p:bldP spid="201" grpId="0"/>
      <p:bldP spid="202" grpId="0"/>
      <p:bldP spid="203" grpId="0" animBg="1"/>
      <p:bldP spid="215" grpId="0"/>
      <p:bldP spid="216" grpId="0" animBg="1"/>
      <p:bldP spid="290" grpId="0"/>
      <p:bldP spid="303" grpId="0"/>
      <p:bldP spid="355" grpId="0" animBg="1"/>
      <p:bldP spid="356" grpId="0" animBg="1"/>
      <p:bldP spid="398" grpId="0" animBg="1"/>
      <p:bldP spid="400" grpId="0"/>
      <p:bldP spid="401" grpId="0" animBg="1"/>
      <p:bldP spid="406" grpId="0"/>
      <p:bldP spid="413" grpId="0"/>
      <p:bldP spid="414" grpId="0" animBg="1"/>
      <p:bldP spid="415" grpId="0" animBg="1"/>
      <p:bldP spid="416" grpId="0"/>
      <p:bldP spid="422"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2518C2E-5129-4950-ADEE-2C2B1497B1E9}"/>
              </a:ext>
            </a:extLst>
          </p:cNvPr>
          <p:cNvGraphicFramePr>
            <a:graphicFrameLocks noChangeAspect="1"/>
          </p:cNvGraphicFramePr>
          <p:nvPr>
            <p:custDataLst>
              <p:tags r:id="rId1"/>
            </p:custDataLst>
            <p:extLst>
              <p:ext uri="{D42A27DB-BD31-4B8C-83A1-F6EECF244321}">
                <p14:modId xmlns:p14="http://schemas.microsoft.com/office/powerpoint/2010/main" val="3645646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7" imgW="395" imgH="396" progId="TCLayout.ActiveDocument.1">
                  <p:embed/>
                </p:oleObj>
              </mc:Choice>
              <mc:Fallback>
                <p:oleObj name="Diapositive think-cell" r:id="rId7" imgW="395" imgH="396" progId="TCLayout.ActiveDocument.1">
                  <p:embed/>
                  <p:pic>
                    <p:nvPicPr>
                      <p:cNvPr id="9" name="Objet 8" hidden="1">
                        <a:extLst>
                          <a:ext uri="{FF2B5EF4-FFF2-40B4-BE49-F238E27FC236}">
                            <a16:creationId xmlns:a16="http://schemas.microsoft.com/office/drawing/2014/main" id="{12518C2E-5129-4950-ADEE-2C2B1497B1E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Image 3">
            <a:extLst>
              <a:ext uri="{FF2B5EF4-FFF2-40B4-BE49-F238E27FC236}">
                <a16:creationId xmlns:a16="http://schemas.microsoft.com/office/drawing/2014/main" id="{D004E74F-0A0A-46DD-AAB7-F18A5E9D876A}"/>
              </a:ext>
            </a:extLst>
          </p:cNvPr>
          <p:cNvPicPr>
            <a:picLocks noChangeAspect="1"/>
          </p:cNvPicPr>
          <p:nvPr/>
        </p:nvPicPr>
        <p:blipFill rotWithShape="1">
          <a:blip r:embed="rId9" cstate="screen">
            <a:alphaModFix amt="90000"/>
            <a:extLst>
              <a:ext uri="{BEBA8EAE-BF5A-486C-A8C5-ECC9F3942E4B}">
                <a14:imgProps xmlns:a14="http://schemas.microsoft.com/office/drawing/2010/main">
                  <a14:imgLayer r:embed="rId10">
                    <a14:imgEffect>
                      <a14:brightnessContrast bright="-13000"/>
                    </a14:imgEffect>
                  </a14:imgLayer>
                </a14:imgProps>
              </a:ext>
              <a:ext uri="{28A0092B-C50C-407E-A947-70E740481C1C}">
                <a14:useLocalDpi xmlns:a14="http://schemas.microsoft.com/office/drawing/2010/main"/>
              </a:ext>
            </a:extLst>
          </a:blip>
          <a:srcRect t="-1"/>
          <a:stretch/>
        </p:blipFill>
        <p:spPr>
          <a:xfrm>
            <a:off x="1" y="1"/>
            <a:ext cx="9144000" cy="6858000"/>
          </a:xfrm>
          <a:prstGeom prst="rect">
            <a:avLst/>
          </a:prstGeom>
        </p:spPr>
      </p:pic>
      <p:sp>
        <p:nvSpPr>
          <p:cNvPr id="12" name="Rectangle : coins arrondis 11">
            <a:extLst>
              <a:ext uri="{FF2B5EF4-FFF2-40B4-BE49-F238E27FC236}">
                <a16:creationId xmlns:a16="http://schemas.microsoft.com/office/drawing/2014/main" id="{6D76717B-1206-4A59-B34C-9F75A7FDC7BD}"/>
              </a:ext>
            </a:extLst>
          </p:cNvPr>
          <p:cNvSpPr/>
          <p:nvPr/>
        </p:nvSpPr>
        <p:spPr>
          <a:xfrm>
            <a:off x="664029" y="1534887"/>
            <a:ext cx="7870371" cy="3875314"/>
          </a:xfrm>
          <a:prstGeom prst="roundRect">
            <a:avLst/>
          </a:prstGeom>
          <a:solidFill>
            <a:srgbClr val="1B9D91">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a:extLst>
              <a:ext uri="{FF2B5EF4-FFF2-40B4-BE49-F238E27FC236}">
                <a16:creationId xmlns:a16="http://schemas.microsoft.com/office/drawing/2014/main" id="{37F0F3F7-FD7C-44E1-A27A-66674DCEAF9D}"/>
              </a:ext>
            </a:extLst>
          </p:cNvPr>
          <p:cNvSpPr>
            <a:spLocks noGrp="1"/>
          </p:cNvSpPr>
          <p:nvPr>
            <p:ph idx="4294967295"/>
          </p:nvPr>
        </p:nvSpPr>
        <p:spPr>
          <a:xfrm>
            <a:off x="1471386" y="1698261"/>
            <a:ext cx="8064500" cy="3003550"/>
          </a:xfrm>
          <a:prstGeom prst="rect">
            <a:avLst/>
          </a:prstGeom>
        </p:spPr>
        <p:txBody>
          <a:bodyPr/>
          <a:lstStyle/>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Très haute qualité métallurgique</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Rapport qualité / prix</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Stabilisation des prix de reprise des matières réversibles</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Diminution de consommation de cash selon modèle choisi</a:t>
            </a:r>
          </a:p>
          <a:p>
            <a:pPr marL="0" indent="0">
              <a:lnSpc>
                <a:spcPct val="200000"/>
              </a:lnSpc>
              <a:spcAft>
                <a:spcPts val="1200"/>
              </a:spcAft>
              <a:buClr>
                <a:srgbClr val="1B9D91"/>
              </a:buClr>
              <a:buSzPct val="125000"/>
              <a:buNone/>
            </a:pPr>
            <a:endParaRPr lang="fr-FR" sz="1600" b="1" dirty="0">
              <a:solidFill>
                <a:schemeClr val="accent3"/>
              </a:solidFill>
              <a:latin typeface="Arial" panose="020B0604020202020204" pitchFamily="34" charset="0"/>
              <a:cs typeface="Arial" panose="020B0604020202020204" pitchFamily="34" charset="0"/>
            </a:endParaRPr>
          </a:p>
        </p:txBody>
      </p:sp>
      <p:grpSp>
        <p:nvGrpSpPr>
          <p:cNvPr id="27" name="Group 10">
            <a:extLst>
              <a:ext uri="{FF2B5EF4-FFF2-40B4-BE49-F238E27FC236}">
                <a16:creationId xmlns:a16="http://schemas.microsoft.com/office/drawing/2014/main" id="{155C7CC8-AD6F-402B-AB7A-FF808B689F74}"/>
              </a:ext>
            </a:extLst>
          </p:cNvPr>
          <p:cNvGrpSpPr>
            <a:grpSpLocks noChangeAspect="1"/>
          </p:cNvGrpSpPr>
          <p:nvPr/>
        </p:nvGrpSpPr>
        <p:grpSpPr>
          <a:xfrm rot="16200000">
            <a:off x="931437" y="4432670"/>
            <a:ext cx="252000" cy="252000"/>
            <a:chOff x="477582" y="2362623"/>
            <a:chExt cx="590158" cy="590158"/>
          </a:xfrm>
        </p:grpSpPr>
        <p:sp>
          <p:nvSpPr>
            <p:cNvPr id="28" name="Oval 14">
              <a:extLst>
                <a:ext uri="{FF2B5EF4-FFF2-40B4-BE49-F238E27FC236}">
                  <a16:creationId xmlns:a16="http://schemas.microsoft.com/office/drawing/2014/main" id="{C4DD6582-AFCD-4163-B4FC-020CFFAA3EB3}"/>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29" name="ChevronBlue 33">
              <a:extLst>
                <a:ext uri="{FF2B5EF4-FFF2-40B4-BE49-F238E27FC236}">
                  <a16:creationId xmlns:a16="http://schemas.microsoft.com/office/drawing/2014/main" id="{6A3B0586-9BDD-493B-96FF-B2BBC515EC69}"/>
                </a:ext>
              </a:extLst>
            </p:cNvPr>
            <p:cNvGrpSpPr>
              <a:grpSpLocks noChangeAspect="1"/>
            </p:cNvGrpSpPr>
            <p:nvPr>
              <p:custDataLst>
                <p:tags r:id="rId5"/>
              </p:custDataLst>
            </p:nvPr>
          </p:nvGrpSpPr>
          <p:grpSpPr>
            <a:xfrm rot="5400000">
              <a:off x="554736" y="2439776"/>
              <a:ext cx="435851" cy="435851"/>
              <a:chOff x="1016000" y="1016000"/>
              <a:chExt cx="396228" cy="396228"/>
            </a:xfrm>
          </p:grpSpPr>
          <p:sp>
            <p:nvSpPr>
              <p:cNvPr id="30" name="Oval 16">
                <a:extLst>
                  <a:ext uri="{FF2B5EF4-FFF2-40B4-BE49-F238E27FC236}">
                    <a16:creationId xmlns:a16="http://schemas.microsoft.com/office/drawing/2014/main" id="{23D78490-E231-42F4-AFC2-9A81E87CF229}"/>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31" name="Freeform: Shape 17">
                <a:extLst>
                  <a:ext uri="{FF2B5EF4-FFF2-40B4-BE49-F238E27FC236}">
                    <a16:creationId xmlns:a16="http://schemas.microsoft.com/office/drawing/2014/main" id="{69DAFAEE-67C6-4FD5-8952-50109F4A5744}"/>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32" name="Group 10">
            <a:extLst>
              <a:ext uri="{FF2B5EF4-FFF2-40B4-BE49-F238E27FC236}">
                <a16:creationId xmlns:a16="http://schemas.microsoft.com/office/drawing/2014/main" id="{1377AE69-8A92-4EC7-B88E-EB106E5B2EAD}"/>
              </a:ext>
            </a:extLst>
          </p:cNvPr>
          <p:cNvGrpSpPr>
            <a:grpSpLocks noChangeAspect="1"/>
          </p:cNvGrpSpPr>
          <p:nvPr/>
        </p:nvGrpSpPr>
        <p:grpSpPr>
          <a:xfrm rot="16200000">
            <a:off x="931437" y="3613694"/>
            <a:ext cx="252000" cy="252000"/>
            <a:chOff x="477582" y="2362623"/>
            <a:chExt cx="590158" cy="590158"/>
          </a:xfrm>
        </p:grpSpPr>
        <p:sp>
          <p:nvSpPr>
            <p:cNvPr id="33" name="Oval 14">
              <a:extLst>
                <a:ext uri="{FF2B5EF4-FFF2-40B4-BE49-F238E27FC236}">
                  <a16:creationId xmlns:a16="http://schemas.microsoft.com/office/drawing/2014/main" id="{16FC87BF-4E45-4955-99AA-1A42259784E5}"/>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34" name="ChevronBlue 33">
              <a:extLst>
                <a:ext uri="{FF2B5EF4-FFF2-40B4-BE49-F238E27FC236}">
                  <a16:creationId xmlns:a16="http://schemas.microsoft.com/office/drawing/2014/main" id="{0AAE62BE-B2AF-41F7-92C5-AEDC516C48E0}"/>
                </a:ext>
              </a:extLst>
            </p:cNvPr>
            <p:cNvGrpSpPr>
              <a:grpSpLocks noChangeAspect="1"/>
            </p:cNvGrpSpPr>
            <p:nvPr>
              <p:custDataLst>
                <p:tags r:id="rId4"/>
              </p:custDataLst>
            </p:nvPr>
          </p:nvGrpSpPr>
          <p:grpSpPr>
            <a:xfrm rot="5400000">
              <a:off x="554736" y="2439776"/>
              <a:ext cx="435851" cy="435851"/>
              <a:chOff x="1016000" y="1016000"/>
              <a:chExt cx="396228" cy="396228"/>
            </a:xfrm>
          </p:grpSpPr>
          <p:sp>
            <p:nvSpPr>
              <p:cNvPr id="35" name="Oval 16">
                <a:extLst>
                  <a:ext uri="{FF2B5EF4-FFF2-40B4-BE49-F238E27FC236}">
                    <a16:creationId xmlns:a16="http://schemas.microsoft.com/office/drawing/2014/main" id="{05C019E4-DB01-41A3-B243-11508F9C5F39}"/>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36" name="Freeform: Shape 17">
                <a:extLst>
                  <a:ext uri="{FF2B5EF4-FFF2-40B4-BE49-F238E27FC236}">
                    <a16:creationId xmlns:a16="http://schemas.microsoft.com/office/drawing/2014/main" id="{2A8A0A38-0636-4D33-A5A6-9A703ABF1B33}"/>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37" name="Group 10">
            <a:extLst>
              <a:ext uri="{FF2B5EF4-FFF2-40B4-BE49-F238E27FC236}">
                <a16:creationId xmlns:a16="http://schemas.microsoft.com/office/drawing/2014/main" id="{B379B1E8-1076-488B-A211-545732CDD06A}"/>
              </a:ext>
            </a:extLst>
          </p:cNvPr>
          <p:cNvGrpSpPr>
            <a:grpSpLocks noChangeAspect="1"/>
          </p:cNvGrpSpPr>
          <p:nvPr/>
        </p:nvGrpSpPr>
        <p:grpSpPr>
          <a:xfrm rot="16200000">
            <a:off x="931438" y="2779009"/>
            <a:ext cx="252000" cy="252000"/>
            <a:chOff x="477582" y="2362623"/>
            <a:chExt cx="590158" cy="590158"/>
          </a:xfrm>
        </p:grpSpPr>
        <p:sp>
          <p:nvSpPr>
            <p:cNvPr id="38" name="Oval 14">
              <a:extLst>
                <a:ext uri="{FF2B5EF4-FFF2-40B4-BE49-F238E27FC236}">
                  <a16:creationId xmlns:a16="http://schemas.microsoft.com/office/drawing/2014/main" id="{400B4577-B3C0-4E74-A736-9077EA692B42}"/>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39" name="ChevronBlue 33">
              <a:extLst>
                <a:ext uri="{FF2B5EF4-FFF2-40B4-BE49-F238E27FC236}">
                  <a16:creationId xmlns:a16="http://schemas.microsoft.com/office/drawing/2014/main" id="{B836C2AF-29A8-4FF8-A5C9-6035CAD3CB65}"/>
                </a:ext>
              </a:extLst>
            </p:cNvPr>
            <p:cNvGrpSpPr>
              <a:grpSpLocks noChangeAspect="1"/>
            </p:cNvGrpSpPr>
            <p:nvPr>
              <p:custDataLst>
                <p:tags r:id="rId3"/>
              </p:custDataLst>
            </p:nvPr>
          </p:nvGrpSpPr>
          <p:grpSpPr>
            <a:xfrm rot="5400000">
              <a:off x="554736" y="2439776"/>
              <a:ext cx="435851" cy="435851"/>
              <a:chOff x="1016000" y="1016000"/>
              <a:chExt cx="396228" cy="396228"/>
            </a:xfrm>
          </p:grpSpPr>
          <p:sp>
            <p:nvSpPr>
              <p:cNvPr id="40" name="Oval 16">
                <a:extLst>
                  <a:ext uri="{FF2B5EF4-FFF2-40B4-BE49-F238E27FC236}">
                    <a16:creationId xmlns:a16="http://schemas.microsoft.com/office/drawing/2014/main" id="{80565160-2E02-4FE5-B208-AE1BB2871E3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1" name="Freeform: Shape 17">
                <a:extLst>
                  <a:ext uri="{FF2B5EF4-FFF2-40B4-BE49-F238E27FC236}">
                    <a16:creationId xmlns:a16="http://schemas.microsoft.com/office/drawing/2014/main" id="{D92829F3-62E7-4FAF-88E6-89AE19FD67A2}"/>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42" name="Group 10">
            <a:extLst>
              <a:ext uri="{FF2B5EF4-FFF2-40B4-BE49-F238E27FC236}">
                <a16:creationId xmlns:a16="http://schemas.microsoft.com/office/drawing/2014/main" id="{9993A8C0-4BB9-4AC5-A4A3-AF069C88973E}"/>
              </a:ext>
            </a:extLst>
          </p:cNvPr>
          <p:cNvGrpSpPr>
            <a:grpSpLocks noChangeAspect="1"/>
          </p:cNvGrpSpPr>
          <p:nvPr/>
        </p:nvGrpSpPr>
        <p:grpSpPr>
          <a:xfrm rot="16200000">
            <a:off x="921215" y="1961677"/>
            <a:ext cx="252000" cy="252000"/>
            <a:chOff x="477582" y="2362623"/>
            <a:chExt cx="590158" cy="590158"/>
          </a:xfrm>
        </p:grpSpPr>
        <p:sp>
          <p:nvSpPr>
            <p:cNvPr id="43" name="Oval 14">
              <a:extLst>
                <a:ext uri="{FF2B5EF4-FFF2-40B4-BE49-F238E27FC236}">
                  <a16:creationId xmlns:a16="http://schemas.microsoft.com/office/drawing/2014/main" id="{E2DF04C2-2038-42A5-A193-CCD976322C9B}"/>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44" name="ChevronBlue 33">
              <a:extLst>
                <a:ext uri="{FF2B5EF4-FFF2-40B4-BE49-F238E27FC236}">
                  <a16:creationId xmlns:a16="http://schemas.microsoft.com/office/drawing/2014/main" id="{5FAB8D08-57CC-41A1-9EFC-359A33859549}"/>
                </a:ext>
              </a:extLst>
            </p:cNvPr>
            <p:cNvGrpSpPr>
              <a:grpSpLocks noChangeAspect="1"/>
            </p:cNvGrpSpPr>
            <p:nvPr>
              <p:custDataLst>
                <p:tags r:id="rId2"/>
              </p:custDataLst>
            </p:nvPr>
          </p:nvGrpSpPr>
          <p:grpSpPr>
            <a:xfrm rot="5400000">
              <a:off x="554736" y="2439776"/>
              <a:ext cx="435851" cy="435851"/>
              <a:chOff x="1016000" y="1016000"/>
              <a:chExt cx="396228" cy="396228"/>
            </a:xfrm>
          </p:grpSpPr>
          <p:sp>
            <p:nvSpPr>
              <p:cNvPr id="45" name="Oval 16">
                <a:extLst>
                  <a:ext uri="{FF2B5EF4-FFF2-40B4-BE49-F238E27FC236}">
                    <a16:creationId xmlns:a16="http://schemas.microsoft.com/office/drawing/2014/main" id="{76ACF8CE-6E46-4895-8F22-246B38CB2B73}"/>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6" name="Freeform: Shape 17">
                <a:extLst>
                  <a:ext uri="{FF2B5EF4-FFF2-40B4-BE49-F238E27FC236}">
                    <a16:creationId xmlns:a16="http://schemas.microsoft.com/office/drawing/2014/main" id="{180B4D47-5645-4B14-9BB0-9CB4098FB890}"/>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sp>
        <p:nvSpPr>
          <p:cNvPr id="49" name="Espace réservé du pied de page 5">
            <a:extLst>
              <a:ext uri="{FF2B5EF4-FFF2-40B4-BE49-F238E27FC236}">
                <a16:creationId xmlns:a16="http://schemas.microsoft.com/office/drawing/2014/main" id="{4052F0A9-C842-4397-BB38-DAF53C12BC33}"/>
              </a:ext>
            </a:extLst>
          </p:cNvPr>
          <p:cNvSpPr txBox="1">
            <a:spLocks/>
          </p:cNvSpPr>
          <p:nvPr/>
        </p:nvSpPr>
        <p:spPr bwMode="gray">
          <a:xfrm>
            <a:off x="862088" y="6192682"/>
            <a:ext cx="3420000" cy="440684"/>
          </a:xfrm>
          <a:prstGeom prst="rect">
            <a:avLst/>
          </a:prstGeom>
        </p:spPr>
        <p:txBody>
          <a:bodyPr vert="horz" lIns="0" tIns="0" rIns="0" bIns="0" rtlCol="0" anchor="b" anchorCtr="0">
            <a:noAutofit/>
          </a:bodyPr>
          <a:lstStyle>
            <a:defPPr>
              <a:defRPr lang="fr-FR"/>
            </a:defPPr>
            <a:lvl1pPr marL="0" algn="ctr" defTabSz="914400" rtl="0" eaLnBrk="1" latinLnBrk="0" hangingPunct="1">
              <a:lnSpc>
                <a:spcPct val="90000"/>
              </a:lnSpc>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dirty="0">
                <a:solidFill>
                  <a:schemeClr val="bg1"/>
                </a:solidFill>
                <a:latin typeface="Arial"/>
              </a:rPr>
              <a:t>EcoTitanium / UKAD : les avantages de la filière Titane</a:t>
            </a:r>
          </a:p>
        </p:txBody>
      </p:sp>
      <p:pic>
        <p:nvPicPr>
          <p:cNvPr id="51" name="Image 50">
            <a:extLst>
              <a:ext uri="{FF2B5EF4-FFF2-40B4-BE49-F238E27FC236}">
                <a16:creationId xmlns:a16="http://schemas.microsoft.com/office/drawing/2014/main" id="{0005291C-6B50-41D8-B04F-F6D4C37D2D9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spTree>
    <p:extLst>
      <p:ext uri="{BB962C8B-B14F-4D97-AF65-F5344CB8AC3E}">
        <p14:creationId xmlns:p14="http://schemas.microsoft.com/office/powerpoint/2010/main" val="42212838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E935004-0B07-48DB-96EF-4E31BC6EDCBD}"/>
              </a:ext>
            </a:extLst>
          </p:cNvPr>
          <p:cNvGraphicFramePr>
            <a:graphicFrameLocks noChangeAspect="1"/>
          </p:cNvGraphicFramePr>
          <p:nvPr>
            <p:custDataLst>
              <p:tags r:id="rId1"/>
            </p:custDataLst>
            <p:extLst>
              <p:ext uri="{D42A27DB-BD31-4B8C-83A1-F6EECF244321}">
                <p14:modId xmlns:p14="http://schemas.microsoft.com/office/powerpoint/2010/main" val="192907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7" name="Objet 6" hidden="1">
                        <a:extLst>
                          <a:ext uri="{FF2B5EF4-FFF2-40B4-BE49-F238E27FC236}">
                            <a16:creationId xmlns:a16="http://schemas.microsoft.com/office/drawing/2014/main" id="{7E935004-0B07-48DB-96EF-4E31BC6EDC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e la date 2">
            <a:extLst>
              <a:ext uri="{FF2B5EF4-FFF2-40B4-BE49-F238E27FC236}">
                <a16:creationId xmlns:a16="http://schemas.microsoft.com/office/drawing/2014/main" id="{AAB30CDC-2717-4AFF-8396-C23E3ABA90B1}"/>
              </a:ext>
            </a:extLst>
          </p:cNvPr>
          <p:cNvSpPr>
            <a:spLocks noGrp="1"/>
          </p:cNvSpPr>
          <p:nvPr>
            <p:ph type="dt" sz="half" idx="14"/>
          </p:nvPr>
        </p:nvSpPr>
        <p:spPr/>
        <p:txBody>
          <a:bodyPr/>
          <a:lstStyle/>
          <a:p>
            <a:r>
              <a:rPr lang="fr-FR"/>
              <a:t>Date</a:t>
            </a:r>
            <a:endParaRPr lang="fr-FR" dirty="0"/>
          </a:p>
        </p:txBody>
      </p:sp>
      <p:sp>
        <p:nvSpPr>
          <p:cNvPr id="4" name="Espace réservé du pied de page 3">
            <a:extLst>
              <a:ext uri="{FF2B5EF4-FFF2-40B4-BE49-F238E27FC236}">
                <a16:creationId xmlns:a16="http://schemas.microsoft.com/office/drawing/2014/main" id="{15F8A439-3814-4F46-9861-A084069C5013}"/>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5" name="Espace réservé du numéro de diapositive 4">
            <a:extLst>
              <a:ext uri="{FF2B5EF4-FFF2-40B4-BE49-F238E27FC236}">
                <a16:creationId xmlns:a16="http://schemas.microsoft.com/office/drawing/2014/main" id="{F069AA48-8B41-4E9A-AA7D-CF61665037B2}"/>
              </a:ext>
            </a:extLst>
          </p:cNvPr>
          <p:cNvSpPr>
            <a:spLocks noGrp="1"/>
          </p:cNvSpPr>
          <p:nvPr>
            <p:ph type="sldNum" sz="quarter" idx="16"/>
          </p:nvPr>
        </p:nvSpPr>
        <p:spPr/>
        <p:txBody>
          <a:bodyPr/>
          <a:lstStyle/>
          <a:p>
            <a:fld id="{733122C9-A0B9-462F-8757-0847AD287B63}" type="slidenum">
              <a:rPr lang="fr-FR" smtClean="0"/>
              <a:pPr/>
              <a:t>13</a:t>
            </a:fld>
            <a:endParaRPr lang="fr-FR" dirty="0"/>
          </a:p>
        </p:txBody>
      </p:sp>
      <p:sp>
        <p:nvSpPr>
          <p:cNvPr id="6" name="Espace réservé du texte 5">
            <a:extLst>
              <a:ext uri="{FF2B5EF4-FFF2-40B4-BE49-F238E27FC236}">
                <a16:creationId xmlns:a16="http://schemas.microsoft.com/office/drawing/2014/main" id="{37C5D5A6-0939-466D-87B2-2901092813ED}"/>
              </a:ext>
            </a:extLst>
          </p:cNvPr>
          <p:cNvSpPr>
            <a:spLocks noGrp="1"/>
          </p:cNvSpPr>
          <p:nvPr>
            <p:ph type="body" sz="quarter" idx="17"/>
          </p:nvPr>
        </p:nvSpPr>
        <p:spPr>
          <a:xfrm>
            <a:off x="539999" y="2631014"/>
            <a:ext cx="6829629" cy="3095625"/>
          </a:xfrm>
        </p:spPr>
        <p:txBody>
          <a:bodyPr/>
          <a:lstStyle/>
          <a:p>
            <a:r>
              <a:rPr lang="fr-FR" dirty="0"/>
              <a:t>Quels avantages environnementaux ?</a:t>
            </a:r>
          </a:p>
        </p:txBody>
      </p:sp>
    </p:spTree>
    <p:extLst>
      <p:ext uri="{BB962C8B-B14F-4D97-AF65-F5344CB8AC3E}">
        <p14:creationId xmlns:p14="http://schemas.microsoft.com/office/powerpoint/2010/main" val="39646852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5C66B1A1-209C-4B3A-98C8-FCB3BAA6F474}"/>
              </a:ext>
            </a:extLst>
          </p:cNvPr>
          <p:cNvGraphicFramePr>
            <a:graphicFrameLocks noChangeAspect="1"/>
          </p:cNvGraphicFramePr>
          <p:nvPr>
            <p:custDataLst>
              <p:tags r:id="rId1"/>
            </p:custDataLst>
            <p:extLst>
              <p:ext uri="{D42A27DB-BD31-4B8C-83A1-F6EECF244321}">
                <p14:modId xmlns:p14="http://schemas.microsoft.com/office/powerpoint/2010/main" val="3782413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9" name="Objet 8" hidden="1">
                        <a:extLst>
                          <a:ext uri="{FF2B5EF4-FFF2-40B4-BE49-F238E27FC236}">
                            <a16:creationId xmlns:a16="http://schemas.microsoft.com/office/drawing/2014/main" id="{5C66B1A1-209C-4B3A-98C8-FCB3BAA6F4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BD0D144-8735-4CEF-9E9C-1C5F495EB53F}"/>
              </a:ext>
            </a:extLst>
          </p:cNvPr>
          <p:cNvSpPr>
            <a:spLocks noGrp="1"/>
          </p:cNvSpPr>
          <p:nvPr>
            <p:ph type="title"/>
          </p:nvPr>
        </p:nvSpPr>
        <p:spPr>
          <a:xfrm>
            <a:off x="539999" y="2"/>
            <a:ext cx="8423025" cy="829737"/>
          </a:xfrm>
        </p:spPr>
        <p:txBody>
          <a:bodyPr vert="horz"/>
          <a:lstStyle/>
          <a:p>
            <a:r>
              <a:rPr lang="fr-FR" dirty="0"/>
              <a:t>Au-delà de l’intérêt économique, l’économie circulaire permet de réduire considérablement l’empreinte environnementale</a:t>
            </a:r>
          </a:p>
        </p:txBody>
      </p:sp>
      <p:sp>
        <p:nvSpPr>
          <p:cNvPr id="5" name="Espace réservé de la date 4">
            <a:extLst>
              <a:ext uri="{FF2B5EF4-FFF2-40B4-BE49-F238E27FC236}">
                <a16:creationId xmlns:a16="http://schemas.microsoft.com/office/drawing/2014/main" id="{DCAD4225-5373-44DE-BFAC-359438E7CF93}"/>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1BF60E63-376C-4D25-B2FE-E8A8ACC76848}"/>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02C6D816-1BB7-418C-AEBF-57F197551C40}"/>
              </a:ext>
            </a:extLst>
          </p:cNvPr>
          <p:cNvSpPr>
            <a:spLocks noGrp="1"/>
          </p:cNvSpPr>
          <p:nvPr>
            <p:ph type="sldNum" sz="quarter" idx="16"/>
          </p:nvPr>
        </p:nvSpPr>
        <p:spPr/>
        <p:txBody>
          <a:bodyPr/>
          <a:lstStyle/>
          <a:p>
            <a:fld id="{733122C9-A0B9-462F-8757-0847AD287B63}" type="slidenum">
              <a:rPr lang="fr-FR" smtClean="0"/>
              <a:pPr/>
              <a:t>14</a:t>
            </a:fld>
            <a:endParaRPr lang="fr-FR" dirty="0"/>
          </a:p>
        </p:txBody>
      </p:sp>
      <p:sp>
        <p:nvSpPr>
          <p:cNvPr id="8" name="Freeform 27">
            <a:extLst>
              <a:ext uri="{FF2B5EF4-FFF2-40B4-BE49-F238E27FC236}">
                <a16:creationId xmlns:a16="http://schemas.microsoft.com/office/drawing/2014/main" id="{48C29B5E-BB5D-4B9E-BEDD-65E9B90AC1C1}"/>
              </a:ext>
            </a:extLst>
          </p:cNvPr>
          <p:cNvSpPr>
            <a:spLocks/>
          </p:cNvSpPr>
          <p:nvPr/>
        </p:nvSpPr>
        <p:spPr bwMode="auto">
          <a:xfrm>
            <a:off x="4566323" y="2781636"/>
            <a:ext cx="335807" cy="3253604"/>
          </a:xfrm>
          <a:custGeom>
            <a:avLst/>
            <a:gdLst>
              <a:gd name="T0" fmla="*/ 400 w 449"/>
              <a:gd name="T1" fmla="*/ 160 h 4361"/>
              <a:gd name="T2" fmla="*/ 320 w 449"/>
              <a:gd name="T3" fmla="*/ 483 h 4361"/>
              <a:gd name="T4" fmla="*/ 257 w 449"/>
              <a:gd name="T5" fmla="*/ 809 h 4361"/>
              <a:gd name="T6" fmla="*/ 210 w 449"/>
              <a:gd name="T7" fmla="*/ 1136 h 4361"/>
              <a:gd name="T8" fmla="*/ 177 w 449"/>
              <a:gd name="T9" fmla="*/ 1464 h 4361"/>
              <a:gd name="T10" fmla="*/ 158 w 449"/>
              <a:gd name="T11" fmla="*/ 1786 h 4361"/>
              <a:gd name="T12" fmla="*/ 149 w 449"/>
              <a:gd name="T13" fmla="*/ 2101 h 4361"/>
              <a:gd name="T14" fmla="*/ 149 w 449"/>
              <a:gd name="T15" fmla="*/ 2407 h 4361"/>
              <a:gd name="T16" fmla="*/ 159 w 449"/>
              <a:gd name="T17" fmla="*/ 2700 h 4361"/>
              <a:gd name="T18" fmla="*/ 176 w 449"/>
              <a:gd name="T19" fmla="*/ 2979 h 4361"/>
              <a:gd name="T20" fmla="*/ 197 w 449"/>
              <a:gd name="T21" fmla="*/ 3240 h 4361"/>
              <a:gd name="T22" fmla="*/ 221 w 449"/>
              <a:gd name="T23" fmla="*/ 3481 h 4361"/>
              <a:gd name="T24" fmla="*/ 247 w 449"/>
              <a:gd name="T25" fmla="*/ 3698 h 4361"/>
              <a:gd name="T26" fmla="*/ 273 w 449"/>
              <a:gd name="T27" fmla="*/ 3890 h 4361"/>
              <a:gd name="T28" fmla="*/ 299 w 449"/>
              <a:gd name="T29" fmla="*/ 4051 h 4361"/>
              <a:gd name="T30" fmla="*/ 320 w 449"/>
              <a:gd name="T31" fmla="*/ 4183 h 4361"/>
              <a:gd name="T32" fmla="*/ 338 w 449"/>
              <a:gd name="T33" fmla="*/ 4280 h 4361"/>
              <a:gd name="T34" fmla="*/ 351 w 449"/>
              <a:gd name="T35" fmla="*/ 4340 h 4361"/>
              <a:gd name="T36" fmla="*/ 355 w 449"/>
              <a:gd name="T37" fmla="*/ 4361 h 4361"/>
              <a:gd name="T38" fmla="*/ 133 w 449"/>
              <a:gd name="T39" fmla="*/ 4143 h 4361"/>
              <a:gd name="T40" fmla="*/ 68 w 449"/>
              <a:gd name="T41" fmla="*/ 3717 h 4361"/>
              <a:gd name="T42" fmla="*/ 27 w 449"/>
              <a:gd name="T43" fmla="*/ 3310 h 4361"/>
              <a:gd name="T44" fmla="*/ 5 w 449"/>
              <a:gd name="T45" fmla="*/ 2919 h 4361"/>
              <a:gd name="T46" fmla="*/ 0 w 449"/>
              <a:gd name="T47" fmla="*/ 2549 h 4361"/>
              <a:gd name="T48" fmla="*/ 10 w 449"/>
              <a:gd name="T49" fmla="*/ 2199 h 4361"/>
              <a:gd name="T50" fmla="*/ 32 w 449"/>
              <a:gd name="T51" fmla="*/ 1869 h 4361"/>
              <a:gd name="T52" fmla="*/ 66 w 449"/>
              <a:gd name="T53" fmla="*/ 1565 h 4361"/>
              <a:gd name="T54" fmla="*/ 107 w 449"/>
              <a:gd name="T55" fmla="*/ 1283 h 4361"/>
              <a:gd name="T56" fmla="*/ 153 w 449"/>
              <a:gd name="T57" fmla="*/ 1025 h 4361"/>
              <a:gd name="T58" fmla="*/ 203 w 449"/>
              <a:gd name="T59" fmla="*/ 794 h 4361"/>
              <a:gd name="T60" fmla="*/ 254 w 449"/>
              <a:gd name="T61" fmla="*/ 590 h 4361"/>
              <a:gd name="T62" fmla="*/ 304 w 449"/>
              <a:gd name="T63" fmla="*/ 414 h 4361"/>
              <a:gd name="T64" fmla="*/ 350 w 449"/>
              <a:gd name="T65" fmla="*/ 269 h 4361"/>
              <a:gd name="T66" fmla="*/ 389 w 449"/>
              <a:gd name="T67" fmla="*/ 153 h 4361"/>
              <a:gd name="T68" fmla="*/ 420 w 449"/>
              <a:gd name="T69" fmla="*/ 69 h 4361"/>
              <a:gd name="T70" fmla="*/ 441 w 449"/>
              <a:gd name="T71" fmla="*/ 18 h 4361"/>
              <a:gd name="T72" fmla="*/ 449 w 449"/>
              <a:gd name="T73" fmla="*/ 0 h 4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9" h="4361">
                <a:moveTo>
                  <a:pt x="449" y="0"/>
                </a:moveTo>
                <a:lnTo>
                  <a:pt x="400" y="160"/>
                </a:lnTo>
                <a:lnTo>
                  <a:pt x="358" y="320"/>
                </a:lnTo>
                <a:lnTo>
                  <a:pt x="320" y="483"/>
                </a:lnTo>
                <a:lnTo>
                  <a:pt x="286" y="646"/>
                </a:lnTo>
                <a:lnTo>
                  <a:pt x="257" y="809"/>
                </a:lnTo>
                <a:lnTo>
                  <a:pt x="231" y="973"/>
                </a:lnTo>
                <a:lnTo>
                  <a:pt x="210" y="1136"/>
                </a:lnTo>
                <a:lnTo>
                  <a:pt x="192" y="1301"/>
                </a:lnTo>
                <a:lnTo>
                  <a:pt x="177" y="1464"/>
                </a:lnTo>
                <a:lnTo>
                  <a:pt x="166" y="1625"/>
                </a:lnTo>
                <a:lnTo>
                  <a:pt x="158" y="1786"/>
                </a:lnTo>
                <a:lnTo>
                  <a:pt x="151" y="1944"/>
                </a:lnTo>
                <a:lnTo>
                  <a:pt x="149" y="2101"/>
                </a:lnTo>
                <a:lnTo>
                  <a:pt x="148" y="2256"/>
                </a:lnTo>
                <a:lnTo>
                  <a:pt x="149" y="2407"/>
                </a:lnTo>
                <a:lnTo>
                  <a:pt x="154" y="2555"/>
                </a:lnTo>
                <a:lnTo>
                  <a:pt x="159" y="2700"/>
                </a:lnTo>
                <a:lnTo>
                  <a:pt x="166" y="2842"/>
                </a:lnTo>
                <a:lnTo>
                  <a:pt x="176" y="2979"/>
                </a:lnTo>
                <a:lnTo>
                  <a:pt x="185" y="3113"/>
                </a:lnTo>
                <a:lnTo>
                  <a:pt x="197" y="3240"/>
                </a:lnTo>
                <a:lnTo>
                  <a:pt x="208" y="3364"/>
                </a:lnTo>
                <a:lnTo>
                  <a:pt x="221" y="3481"/>
                </a:lnTo>
                <a:lnTo>
                  <a:pt x="234" y="3592"/>
                </a:lnTo>
                <a:lnTo>
                  <a:pt x="247" y="3698"/>
                </a:lnTo>
                <a:lnTo>
                  <a:pt x="260" y="3797"/>
                </a:lnTo>
                <a:lnTo>
                  <a:pt x="273" y="3890"/>
                </a:lnTo>
                <a:lnTo>
                  <a:pt x="286" y="3975"/>
                </a:lnTo>
                <a:lnTo>
                  <a:pt x="299" y="4051"/>
                </a:lnTo>
                <a:lnTo>
                  <a:pt x="311" y="4121"/>
                </a:lnTo>
                <a:lnTo>
                  <a:pt x="320" y="4183"/>
                </a:lnTo>
                <a:lnTo>
                  <a:pt x="330" y="4236"/>
                </a:lnTo>
                <a:lnTo>
                  <a:pt x="338" y="4280"/>
                </a:lnTo>
                <a:lnTo>
                  <a:pt x="345" y="4315"/>
                </a:lnTo>
                <a:lnTo>
                  <a:pt x="351" y="4340"/>
                </a:lnTo>
                <a:lnTo>
                  <a:pt x="355" y="4356"/>
                </a:lnTo>
                <a:lnTo>
                  <a:pt x="355" y="4361"/>
                </a:lnTo>
                <a:lnTo>
                  <a:pt x="174" y="4361"/>
                </a:lnTo>
                <a:lnTo>
                  <a:pt x="133" y="4143"/>
                </a:lnTo>
                <a:lnTo>
                  <a:pt x="97" y="3928"/>
                </a:lnTo>
                <a:lnTo>
                  <a:pt x="68" y="3717"/>
                </a:lnTo>
                <a:lnTo>
                  <a:pt x="45" y="3510"/>
                </a:lnTo>
                <a:lnTo>
                  <a:pt x="27" y="3310"/>
                </a:lnTo>
                <a:lnTo>
                  <a:pt x="13" y="3111"/>
                </a:lnTo>
                <a:lnTo>
                  <a:pt x="5" y="2919"/>
                </a:lnTo>
                <a:lnTo>
                  <a:pt x="0" y="2731"/>
                </a:lnTo>
                <a:lnTo>
                  <a:pt x="0" y="2549"/>
                </a:lnTo>
                <a:lnTo>
                  <a:pt x="3" y="2371"/>
                </a:lnTo>
                <a:lnTo>
                  <a:pt x="10" y="2199"/>
                </a:lnTo>
                <a:lnTo>
                  <a:pt x="19" y="2032"/>
                </a:lnTo>
                <a:lnTo>
                  <a:pt x="32" y="1869"/>
                </a:lnTo>
                <a:lnTo>
                  <a:pt x="49" y="1715"/>
                </a:lnTo>
                <a:lnTo>
                  <a:pt x="66" y="1565"/>
                </a:lnTo>
                <a:lnTo>
                  <a:pt x="86" y="1420"/>
                </a:lnTo>
                <a:lnTo>
                  <a:pt x="107" y="1283"/>
                </a:lnTo>
                <a:lnTo>
                  <a:pt x="130" y="1151"/>
                </a:lnTo>
                <a:lnTo>
                  <a:pt x="153" y="1025"/>
                </a:lnTo>
                <a:lnTo>
                  <a:pt x="179" y="906"/>
                </a:lnTo>
                <a:lnTo>
                  <a:pt x="203" y="794"/>
                </a:lnTo>
                <a:lnTo>
                  <a:pt x="229" y="690"/>
                </a:lnTo>
                <a:lnTo>
                  <a:pt x="254" y="590"/>
                </a:lnTo>
                <a:lnTo>
                  <a:pt x="280" y="499"/>
                </a:lnTo>
                <a:lnTo>
                  <a:pt x="304" y="414"/>
                </a:lnTo>
                <a:lnTo>
                  <a:pt x="327" y="338"/>
                </a:lnTo>
                <a:lnTo>
                  <a:pt x="350" y="269"/>
                </a:lnTo>
                <a:lnTo>
                  <a:pt x="371" y="207"/>
                </a:lnTo>
                <a:lnTo>
                  <a:pt x="389" y="153"/>
                </a:lnTo>
                <a:lnTo>
                  <a:pt x="407" y="106"/>
                </a:lnTo>
                <a:lnTo>
                  <a:pt x="420" y="69"/>
                </a:lnTo>
                <a:lnTo>
                  <a:pt x="433" y="39"/>
                </a:lnTo>
                <a:lnTo>
                  <a:pt x="441" y="18"/>
                </a:lnTo>
                <a:lnTo>
                  <a:pt x="446" y="5"/>
                </a:lnTo>
                <a:lnTo>
                  <a:pt x="449" y="0"/>
                </a:lnTo>
                <a:close/>
              </a:path>
            </a:pathLst>
          </a:custGeom>
          <a:solidFill>
            <a:schemeClr val="tx1">
              <a:lumMod val="65000"/>
              <a:lumOff val="3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nvGrpSpPr>
          <p:cNvPr id="10" name="Group 2">
            <a:extLst>
              <a:ext uri="{FF2B5EF4-FFF2-40B4-BE49-F238E27FC236}">
                <a16:creationId xmlns:a16="http://schemas.microsoft.com/office/drawing/2014/main" id="{F592DC97-51FB-4178-89AF-3EFF946E9953}"/>
              </a:ext>
            </a:extLst>
          </p:cNvPr>
          <p:cNvGrpSpPr/>
          <p:nvPr/>
        </p:nvGrpSpPr>
        <p:grpSpPr>
          <a:xfrm>
            <a:off x="3021609" y="4218894"/>
            <a:ext cx="1386512" cy="1126822"/>
            <a:chOff x="2922005" y="3558130"/>
            <a:chExt cx="1386512" cy="1126822"/>
          </a:xfrm>
          <a:solidFill>
            <a:srgbClr val="1B9D91"/>
          </a:solidFill>
        </p:grpSpPr>
        <p:sp>
          <p:nvSpPr>
            <p:cNvPr id="11" name="Freeform 21">
              <a:extLst>
                <a:ext uri="{FF2B5EF4-FFF2-40B4-BE49-F238E27FC236}">
                  <a16:creationId xmlns:a16="http://schemas.microsoft.com/office/drawing/2014/main" id="{0FE16CF3-3561-4345-B334-E33B083429BC}"/>
                </a:ext>
              </a:extLst>
            </p:cNvPr>
            <p:cNvSpPr>
              <a:spLocks/>
            </p:cNvSpPr>
            <p:nvPr/>
          </p:nvSpPr>
          <p:spPr bwMode="auto">
            <a:xfrm>
              <a:off x="2922005" y="3558130"/>
              <a:ext cx="1386512" cy="1126822"/>
            </a:xfrm>
            <a:custGeom>
              <a:avLst/>
              <a:gdLst>
                <a:gd name="T0" fmla="*/ 995 w 1858"/>
                <a:gd name="T1" fmla="*/ 2 h 1511"/>
                <a:gd name="T2" fmla="*/ 1110 w 1858"/>
                <a:gd name="T3" fmla="*/ 12 h 1511"/>
                <a:gd name="T4" fmla="*/ 1223 w 1858"/>
                <a:gd name="T5" fmla="*/ 31 h 1511"/>
                <a:gd name="T6" fmla="*/ 1330 w 1858"/>
                <a:gd name="T7" fmla="*/ 59 h 1511"/>
                <a:gd name="T8" fmla="*/ 1433 w 1858"/>
                <a:gd name="T9" fmla="*/ 93 h 1511"/>
                <a:gd name="T10" fmla="*/ 1527 w 1858"/>
                <a:gd name="T11" fmla="*/ 129 h 1511"/>
                <a:gd name="T12" fmla="*/ 1613 w 1858"/>
                <a:gd name="T13" fmla="*/ 167 h 1511"/>
                <a:gd name="T14" fmla="*/ 1688 w 1858"/>
                <a:gd name="T15" fmla="*/ 204 h 1511"/>
                <a:gd name="T16" fmla="*/ 1752 w 1858"/>
                <a:gd name="T17" fmla="*/ 238 h 1511"/>
                <a:gd name="T18" fmla="*/ 1802 w 1858"/>
                <a:gd name="T19" fmla="*/ 268 h 1511"/>
                <a:gd name="T20" fmla="*/ 1836 w 1858"/>
                <a:gd name="T21" fmla="*/ 289 h 1511"/>
                <a:gd name="T22" fmla="*/ 1856 w 1858"/>
                <a:gd name="T23" fmla="*/ 300 h 1511"/>
                <a:gd name="T24" fmla="*/ 1833 w 1858"/>
                <a:gd name="T25" fmla="*/ 431 h 1511"/>
                <a:gd name="T26" fmla="*/ 1778 w 1858"/>
                <a:gd name="T27" fmla="*/ 664 h 1511"/>
                <a:gd name="T28" fmla="*/ 1709 w 1858"/>
                <a:gd name="T29" fmla="*/ 862 h 1511"/>
                <a:gd name="T30" fmla="*/ 1631 w 1858"/>
                <a:gd name="T31" fmla="*/ 1030 h 1511"/>
                <a:gd name="T32" fmla="*/ 1545 w 1858"/>
                <a:gd name="T33" fmla="*/ 1169 h 1511"/>
                <a:gd name="T34" fmla="*/ 1451 w 1858"/>
                <a:gd name="T35" fmla="*/ 1280 h 1511"/>
                <a:gd name="T36" fmla="*/ 1350 w 1858"/>
                <a:gd name="T37" fmla="*/ 1368 h 1511"/>
                <a:gd name="T38" fmla="*/ 1246 w 1858"/>
                <a:gd name="T39" fmla="*/ 1431 h 1511"/>
                <a:gd name="T40" fmla="*/ 1136 w 1858"/>
                <a:gd name="T41" fmla="*/ 1475 h 1511"/>
                <a:gd name="T42" fmla="*/ 1026 w 1858"/>
                <a:gd name="T43" fmla="*/ 1501 h 1511"/>
                <a:gd name="T44" fmla="*/ 913 w 1858"/>
                <a:gd name="T45" fmla="*/ 1511 h 1511"/>
                <a:gd name="T46" fmla="*/ 803 w 1858"/>
                <a:gd name="T47" fmla="*/ 1506 h 1511"/>
                <a:gd name="T48" fmla="*/ 694 w 1858"/>
                <a:gd name="T49" fmla="*/ 1490 h 1511"/>
                <a:gd name="T50" fmla="*/ 588 w 1858"/>
                <a:gd name="T51" fmla="*/ 1465 h 1511"/>
                <a:gd name="T52" fmla="*/ 487 w 1858"/>
                <a:gd name="T53" fmla="*/ 1433 h 1511"/>
                <a:gd name="T54" fmla="*/ 393 w 1858"/>
                <a:gd name="T55" fmla="*/ 1394 h 1511"/>
                <a:gd name="T56" fmla="*/ 305 w 1858"/>
                <a:gd name="T57" fmla="*/ 1353 h 1511"/>
                <a:gd name="T58" fmla="*/ 225 w 1858"/>
                <a:gd name="T59" fmla="*/ 1312 h 1511"/>
                <a:gd name="T60" fmla="*/ 155 w 1858"/>
                <a:gd name="T61" fmla="*/ 1271 h 1511"/>
                <a:gd name="T62" fmla="*/ 96 w 1858"/>
                <a:gd name="T63" fmla="*/ 1236 h 1511"/>
                <a:gd name="T64" fmla="*/ 51 w 1858"/>
                <a:gd name="T65" fmla="*/ 1205 h 1511"/>
                <a:gd name="T66" fmla="*/ 20 w 1858"/>
                <a:gd name="T67" fmla="*/ 1183 h 1511"/>
                <a:gd name="T68" fmla="*/ 4 w 1858"/>
                <a:gd name="T69" fmla="*/ 1170 h 1511"/>
                <a:gd name="T70" fmla="*/ 20 w 1858"/>
                <a:gd name="T71" fmla="*/ 1043 h 1511"/>
                <a:gd name="T72" fmla="*/ 69 w 1858"/>
                <a:gd name="T73" fmla="*/ 818 h 1511"/>
                <a:gd name="T74" fmla="*/ 131 w 1858"/>
                <a:gd name="T75" fmla="*/ 625 h 1511"/>
                <a:gd name="T76" fmla="*/ 205 w 1858"/>
                <a:gd name="T77" fmla="*/ 463 h 1511"/>
                <a:gd name="T78" fmla="*/ 290 w 1858"/>
                <a:gd name="T79" fmla="*/ 330 h 1511"/>
                <a:gd name="T80" fmla="*/ 384 w 1858"/>
                <a:gd name="T81" fmla="*/ 222 h 1511"/>
                <a:gd name="T82" fmla="*/ 487 w 1858"/>
                <a:gd name="T83" fmla="*/ 139 h 1511"/>
                <a:gd name="T84" fmla="*/ 594 w 1858"/>
                <a:gd name="T85" fmla="*/ 77 h 1511"/>
                <a:gd name="T86" fmla="*/ 707 w 1858"/>
                <a:gd name="T87" fmla="*/ 35 h 1511"/>
                <a:gd name="T88" fmla="*/ 821 w 1858"/>
                <a:gd name="T89" fmla="*/ 10 h 1511"/>
                <a:gd name="T90" fmla="*/ 936 w 1858"/>
                <a:gd name="T91" fmla="*/ 0 h 1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1511">
                  <a:moveTo>
                    <a:pt x="936" y="0"/>
                  </a:moveTo>
                  <a:lnTo>
                    <a:pt x="995" y="2"/>
                  </a:lnTo>
                  <a:lnTo>
                    <a:pt x="1052" y="5"/>
                  </a:lnTo>
                  <a:lnTo>
                    <a:pt x="1110" y="12"/>
                  </a:lnTo>
                  <a:lnTo>
                    <a:pt x="1166" y="20"/>
                  </a:lnTo>
                  <a:lnTo>
                    <a:pt x="1223" y="31"/>
                  </a:lnTo>
                  <a:lnTo>
                    <a:pt x="1276" y="44"/>
                  </a:lnTo>
                  <a:lnTo>
                    <a:pt x="1330" y="59"/>
                  </a:lnTo>
                  <a:lnTo>
                    <a:pt x="1382" y="75"/>
                  </a:lnTo>
                  <a:lnTo>
                    <a:pt x="1433" y="93"/>
                  </a:lnTo>
                  <a:lnTo>
                    <a:pt x="1480" y="111"/>
                  </a:lnTo>
                  <a:lnTo>
                    <a:pt x="1527" y="129"/>
                  </a:lnTo>
                  <a:lnTo>
                    <a:pt x="1571" y="149"/>
                  </a:lnTo>
                  <a:lnTo>
                    <a:pt x="1613" y="167"/>
                  </a:lnTo>
                  <a:lnTo>
                    <a:pt x="1652" y="186"/>
                  </a:lnTo>
                  <a:lnTo>
                    <a:pt x="1688" y="204"/>
                  </a:lnTo>
                  <a:lnTo>
                    <a:pt x="1722" y="222"/>
                  </a:lnTo>
                  <a:lnTo>
                    <a:pt x="1752" y="238"/>
                  </a:lnTo>
                  <a:lnTo>
                    <a:pt x="1779" y="253"/>
                  </a:lnTo>
                  <a:lnTo>
                    <a:pt x="1802" y="268"/>
                  </a:lnTo>
                  <a:lnTo>
                    <a:pt x="1822" y="279"/>
                  </a:lnTo>
                  <a:lnTo>
                    <a:pt x="1836" y="289"/>
                  </a:lnTo>
                  <a:lnTo>
                    <a:pt x="1848" y="295"/>
                  </a:lnTo>
                  <a:lnTo>
                    <a:pt x="1856" y="300"/>
                  </a:lnTo>
                  <a:lnTo>
                    <a:pt x="1858" y="302"/>
                  </a:lnTo>
                  <a:lnTo>
                    <a:pt x="1833" y="431"/>
                  </a:lnTo>
                  <a:lnTo>
                    <a:pt x="1807" y="551"/>
                  </a:lnTo>
                  <a:lnTo>
                    <a:pt x="1778" y="664"/>
                  </a:lnTo>
                  <a:lnTo>
                    <a:pt x="1745" y="766"/>
                  </a:lnTo>
                  <a:lnTo>
                    <a:pt x="1709" y="862"/>
                  </a:lnTo>
                  <a:lnTo>
                    <a:pt x="1672" y="950"/>
                  </a:lnTo>
                  <a:lnTo>
                    <a:pt x="1631" y="1030"/>
                  </a:lnTo>
                  <a:lnTo>
                    <a:pt x="1589" y="1104"/>
                  </a:lnTo>
                  <a:lnTo>
                    <a:pt x="1545" y="1169"/>
                  </a:lnTo>
                  <a:lnTo>
                    <a:pt x="1498" y="1227"/>
                  </a:lnTo>
                  <a:lnTo>
                    <a:pt x="1451" y="1280"/>
                  </a:lnTo>
                  <a:lnTo>
                    <a:pt x="1400" y="1327"/>
                  </a:lnTo>
                  <a:lnTo>
                    <a:pt x="1350" y="1368"/>
                  </a:lnTo>
                  <a:lnTo>
                    <a:pt x="1298" y="1402"/>
                  </a:lnTo>
                  <a:lnTo>
                    <a:pt x="1246" y="1431"/>
                  </a:lnTo>
                  <a:lnTo>
                    <a:pt x="1190" y="1456"/>
                  </a:lnTo>
                  <a:lnTo>
                    <a:pt x="1136" y="1475"/>
                  </a:lnTo>
                  <a:lnTo>
                    <a:pt x="1081" y="1490"/>
                  </a:lnTo>
                  <a:lnTo>
                    <a:pt x="1026" y="1501"/>
                  </a:lnTo>
                  <a:lnTo>
                    <a:pt x="970" y="1508"/>
                  </a:lnTo>
                  <a:lnTo>
                    <a:pt x="913" y="1511"/>
                  </a:lnTo>
                  <a:lnTo>
                    <a:pt x="858" y="1509"/>
                  </a:lnTo>
                  <a:lnTo>
                    <a:pt x="803" y="1506"/>
                  </a:lnTo>
                  <a:lnTo>
                    <a:pt x="749" y="1500"/>
                  </a:lnTo>
                  <a:lnTo>
                    <a:pt x="694" y="1490"/>
                  </a:lnTo>
                  <a:lnTo>
                    <a:pt x="642" y="1478"/>
                  </a:lnTo>
                  <a:lnTo>
                    <a:pt x="588" y="1465"/>
                  </a:lnTo>
                  <a:lnTo>
                    <a:pt x="537" y="1449"/>
                  </a:lnTo>
                  <a:lnTo>
                    <a:pt x="487" y="1433"/>
                  </a:lnTo>
                  <a:lnTo>
                    <a:pt x="440" y="1413"/>
                  </a:lnTo>
                  <a:lnTo>
                    <a:pt x="393" y="1394"/>
                  </a:lnTo>
                  <a:lnTo>
                    <a:pt x="347" y="1374"/>
                  </a:lnTo>
                  <a:lnTo>
                    <a:pt x="305" y="1353"/>
                  </a:lnTo>
                  <a:lnTo>
                    <a:pt x="264" y="1333"/>
                  </a:lnTo>
                  <a:lnTo>
                    <a:pt x="225" y="1312"/>
                  </a:lnTo>
                  <a:lnTo>
                    <a:pt x="189" y="1293"/>
                  </a:lnTo>
                  <a:lnTo>
                    <a:pt x="155" y="1271"/>
                  </a:lnTo>
                  <a:lnTo>
                    <a:pt x="124" y="1254"/>
                  </a:lnTo>
                  <a:lnTo>
                    <a:pt x="96" y="1236"/>
                  </a:lnTo>
                  <a:lnTo>
                    <a:pt x="72" y="1219"/>
                  </a:lnTo>
                  <a:lnTo>
                    <a:pt x="51" y="1205"/>
                  </a:lnTo>
                  <a:lnTo>
                    <a:pt x="35" y="1193"/>
                  </a:lnTo>
                  <a:lnTo>
                    <a:pt x="20" y="1183"/>
                  </a:lnTo>
                  <a:lnTo>
                    <a:pt x="10" y="1175"/>
                  </a:lnTo>
                  <a:lnTo>
                    <a:pt x="4" y="1170"/>
                  </a:lnTo>
                  <a:lnTo>
                    <a:pt x="0" y="1169"/>
                  </a:lnTo>
                  <a:lnTo>
                    <a:pt x="20" y="1043"/>
                  </a:lnTo>
                  <a:lnTo>
                    <a:pt x="43" y="926"/>
                  </a:lnTo>
                  <a:lnTo>
                    <a:pt x="69" y="818"/>
                  </a:lnTo>
                  <a:lnTo>
                    <a:pt x="98" y="717"/>
                  </a:lnTo>
                  <a:lnTo>
                    <a:pt x="131" y="625"/>
                  </a:lnTo>
                  <a:lnTo>
                    <a:pt x="166" y="540"/>
                  </a:lnTo>
                  <a:lnTo>
                    <a:pt x="205" y="463"/>
                  </a:lnTo>
                  <a:lnTo>
                    <a:pt x="248" y="393"/>
                  </a:lnTo>
                  <a:lnTo>
                    <a:pt x="290" y="330"/>
                  </a:lnTo>
                  <a:lnTo>
                    <a:pt x="337" y="273"/>
                  </a:lnTo>
                  <a:lnTo>
                    <a:pt x="384" y="222"/>
                  </a:lnTo>
                  <a:lnTo>
                    <a:pt x="435" y="176"/>
                  </a:lnTo>
                  <a:lnTo>
                    <a:pt x="487" y="139"/>
                  </a:lnTo>
                  <a:lnTo>
                    <a:pt x="539" y="105"/>
                  </a:lnTo>
                  <a:lnTo>
                    <a:pt x="594" y="77"/>
                  </a:lnTo>
                  <a:lnTo>
                    <a:pt x="650" y="53"/>
                  </a:lnTo>
                  <a:lnTo>
                    <a:pt x="707" y="35"/>
                  </a:lnTo>
                  <a:lnTo>
                    <a:pt x="764" y="20"/>
                  </a:lnTo>
                  <a:lnTo>
                    <a:pt x="821" y="10"/>
                  </a:lnTo>
                  <a:lnTo>
                    <a:pt x="879" y="4"/>
                  </a:lnTo>
                  <a:lnTo>
                    <a:pt x="9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2" name="Freeform 28">
              <a:extLst>
                <a:ext uri="{FF2B5EF4-FFF2-40B4-BE49-F238E27FC236}">
                  <a16:creationId xmlns:a16="http://schemas.microsoft.com/office/drawing/2014/main" id="{776BE780-CFD6-4D9A-BC92-5BA244B137E2}"/>
                </a:ext>
              </a:extLst>
            </p:cNvPr>
            <p:cNvSpPr>
              <a:spLocks/>
            </p:cNvSpPr>
            <p:nvPr/>
          </p:nvSpPr>
          <p:spPr bwMode="auto">
            <a:xfrm>
              <a:off x="3030954" y="3559622"/>
              <a:ext cx="1277562" cy="804447"/>
            </a:xfrm>
            <a:custGeom>
              <a:avLst/>
              <a:gdLst>
                <a:gd name="T0" fmla="*/ 843 w 1711"/>
                <a:gd name="T1" fmla="*/ 0 h 1079"/>
                <a:gd name="T2" fmla="*/ 970 w 1711"/>
                <a:gd name="T3" fmla="*/ 11 h 1079"/>
                <a:gd name="T4" fmla="*/ 1092 w 1711"/>
                <a:gd name="T5" fmla="*/ 34 h 1079"/>
                <a:gd name="T6" fmla="*/ 1211 w 1711"/>
                <a:gd name="T7" fmla="*/ 65 h 1079"/>
                <a:gd name="T8" fmla="*/ 1320 w 1711"/>
                <a:gd name="T9" fmla="*/ 103 h 1079"/>
                <a:gd name="T10" fmla="*/ 1421 w 1711"/>
                <a:gd name="T11" fmla="*/ 145 h 1079"/>
                <a:gd name="T12" fmla="*/ 1509 w 1711"/>
                <a:gd name="T13" fmla="*/ 186 h 1079"/>
                <a:gd name="T14" fmla="*/ 1585 w 1711"/>
                <a:gd name="T15" fmla="*/ 225 h 1079"/>
                <a:gd name="T16" fmla="*/ 1644 w 1711"/>
                <a:gd name="T17" fmla="*/ 259 h 1079"/>
                <a:gd name="T18" fmla="*/ 1686 w 1711"/>
                <a:gd name="T19" fmla="*/ 284 h 1079"/>
                <a:gd name="T20" fmla="*/ 1707 w 1711"/>
                <a:gd name="T21" fmla="*/ 298 h 1079"/>
                <a:gd name="T22" fmla="*/ 1688 w 1711"/>
                <a:gd name="T23" fmla="*/ 424 h 1079"/>
                <a:gd name="T24" fmla="*/ 1634 w 1711"/>
                <a:gd name="T25" fmla="*/ 649 h 1079"/>
                <a:gd name="T26" fmla="*/ 1569 w 1711"/>
                <a:gd name="T27" fmla="*/ 843 h 1079"/>
                <a:gd name="T28" fmla="*/ 1496 w 1711"/>
                <a:gd name="T29" fmla="*/ 1007 h 1079"/>
                <a:gd name="T30" fmla="*/ 1465 w 1711"/>
                <a:gd name="T31" fmla="*/ 1007 h 1079"/>
                <a:gd name="T32" fmla="*/ 1470 w 1711"/>
                <a:gd name="T33" fmla="*/ 875 h 1079"/>
                <a:gd name="T34" fmla="*/ 1458 w 1711"/>
                <a:gd name="T35" fmla="*/ 755 h 1079"/>
                <a:gd name="T36" fmla="*/ 1439 w 1711"/>
                <a:gd name="T37" fmla="*/ 653 h 1079"/>
                <a:gd name="T38" fmla="*/ 1414 w 1711"/>
                <a:gd name="T39" fmla="*/ 574 h 1079"/>
                <a:gd name="T40" fmla="*/ 1393 w 1711"/>
                <a:gd name="T41" fmla="*/ 517 h 1079"/>
                <a:gd name="T42" fmla="*/ 1380 w 1711"/>
                <a:gd name="T43" fmla="*/ 486 h 1079"/>
                <a:gd name="T44" fmla="*/ 1269 w 1711"/>
                <a:gd name="T45" fmla="*/ 445 h 1079"/>
                <a:gd name="T46" fmla="*/ 1064 w 1711"/>
                <a:gd name="T47" fmla="*/ 393 h 1079"/>
                <a:gd name="T48" fmla="*/ 877 w 1711"/>
                <a:gd name="T49" fmla="*/ 363 h 1079"/>
                <a:gd name="T50" fmla="*/ 708 w 1711"/>
                <a:gd name="T51" fmla="*/ 355 h 1079"/>
                <a:gd name="T52" fmla="*/ 555 w 1711"/>
                <a:gd name="T53" fmla="*/ 365 h 1079"/>
                <a:gd name="T54" fmla="*/ 418 w 1711"/>
                <a:gd name="T55" fmla="*/ 390 h 1079"/>
                <a:gd name="T56" fmla="*/ 298 w 1711"/>
                <a:gd name="T57" fmla="*/ 424 h 1079"/>
                <a:gd name="T58" fmla="*/ 194 w 1711"/>
                <a:gd name="T59" fmla="*/ 466 h 1079"/>
                <a:gd name="T60" fmla="*/ 104 w 1711"/>
                <a:gd name="T61" fmla="*/ 513 h 1079"/>
                <a:gd name="T62" fmla="*/ 31 w 1711"/>
                <a:gd name="T63" fmla="*/ 561 h 1079"/>
                <a:gd name="T64" fmla="*/ 41 w 1711"/>
                <a:gd name="T65" fmla="*/ 495 h 1079"/>
                <a:gd name="T66" fmla="*/ 132 w 1711"/>
                <a:gd name="T67" fmla="*/ 342 h 1079"/>
                <a:gd name="T68" fmla="*/ 236 w 1711"/>
                <a:gd name="T69" fmla="*/ 223 h 1079"/>
                <a:gd name="T70" fmla="*/ 347 w 1711"/>
                <a:gd name="T71" fmla="*/ 132 h 1079"/>
                <a:gd name="T72" fmla="*/ 465 w 1711"/>
                <a:gd name="T73" fmla="*/ 67 h 1079"/>
                <a:gd name="T74" fmla="*/ 589 w 1711"/>
                <a:gd name="T75" fmla="*/ 24 h 1079"/>
                <a:gd name="T76" fmla="*/ 716 w 1711"/>
                <a:gd name="T77" fmla="*/ 3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11" h="1079">
                  <a:moveTo>
                    <a:pt x="780" y="0"/>
                  </a:moveTo>
                  <a:lnTo>
                    <a:pt x="843" y="0"/>
                  </a:lnTo>
                  <a:lnTo>
                    <a:pt x="906" y="3"/>
                  </a:lnTo>
                  <a:lnTo>
                    <a:pt x="970" y="11"/>
                  </a:lnTo>
                  <a:lnTo>
                    <a:pt x="1032" y="21"/>
                  </a:lnTo>
                  <a:lnTo>
                    <a:pt x="1092" y="34"/>
                  </a:lnTo>
                  <a:lnTo>
                    <a:pt x="1152" y="49"/>
                  </a:lnTo>
                  <a:lnTo>
                    <a:pt x="1211" y="65"/>
                  </a:lnTo>
                  <a:lnTo>
                    <a:pt x="1266" y="83"/>
                  </a:lnTo>
                  <a:lnTo>
                    <a:pt x="1320" y="103"/>
                  </a:lnTo>
                  <a:lnTo>
                    <a:pt x="1372" y="124"/>
                  </a:lnTo>
                  <a:lnTo>
                    <a:pt x="1421" y="145"/>
                  </a:lnTo>
                  <a:lnTo>
                    <a:pt x="1466" y="166"/>
                  </a:lnTo>
                  <a:lnTo>
                    <a:pt x="1509" y="186"/>
                  </a:lnTo>
                  <a:lnTo>
                    <a:pt x="1549" y="205"/>
                  </a:lnTo>
                  <a:lnTo>
                    <a:pt x="1585" y="225"/>
                  </a:lnTo>
                  <a:lnTo>
                    <a:pt x="1616" y="243"/>
                  </a:lnTo>
                  <a:lnTo>
                    <a:pt x="1644" y="259"/>
                  </a:lnTo>
                  <a:lnTo>
                    <a:pt x="1667" y="272"/>
                  </a:lnTo>
                  <a:lnTo>
                    <a:pt x="1686" y="284"/>
                  </a:lnTo>
                  <a:lnTo>
                    <a:pt x="1699" y="292"/>
                  </a:lnTo>
                  <a:lnTo>
                    <a:pt x="1707" y="298"/>
                  </a:lnTo>
                  <a:lnTo>
                    <a:pt x="1711" y="300"/>
                  </a:lnTo>
                  <a:lnTo>
                    <a:pt x="1688" y="424"/>
                  </a:lnTo>
                  <a:lnTo>
                    <a:pt x="1662" y="541"/>
                  </a:lnTo>
                  <a:lnTo>
                    <a:pt x="1634" y="649"/>
                  </a:lnTo>
                  <a:lnTo>
                    <a:pt x="1603" y="750"/>
                  </a:lnTo>
                  <a:lnTo>
                    <a:pt x="1569" y="843"/>
                  </a:lnTo>
                  <a:lnTo>
                    <a:pt x="1533" y="929"/>
                  </a:lnTo>
                  <a:lnTo>
                    <a:pt x="1496" y="1007"/>
                  </a:lnTo>
                  <a:lnTo>
                    <a:pt x="1455" y="1079"/>
                  </a:lnTo>
                  <a:lnTo>
                    <a:pt x="1465" y="1007"/>
                  </a:lnTo>
                  <a:lnTo>
                    <a:pt x="1470" y="940"/>
                  </a:lnTo>
                  <a:lnTo>
                    <a:pt x="1470" y="875"/>
                  </a:lnTo>
                  <a:lnTo>
                    <a:pt x="1465" y="813"/>
                  </a:lnTo>
                  <a:lnTo>
                    <a:pt x="1458" y="755"/>
                  </a:lnTo>
                  <a:lnTo>
                    <a:pt x="1448" y="702"/>
                  </a:lnTo>
                  <a:lnTo>
                    <a:pt x="1439" y="653"/>
                  </a:lnTo>
                  <a:lnTo>
                    <a:pt x="1427" y="611"/>
                  </a:lnTo>
                  <a:lnTo>
                    <a:pt x="1414" y="574"/>
                  </a:lnTo>
                  <a:lnTo>
                    <a:pt x="1403" y="541"/>
                  </a:lnTo>
                  <a:lnTo>
                    <a:pt x="1393" y="517"/>
                  </a:lnTo>
                  <a:lnTo>
                    <a:pt x="1385" y="497"/>
                  </a:lnTo>
                  <a:lnTo>
                    <a:pt x="1380" y="486"/>
                  </a:lnTo>
                  <a:lnTo>
                    <a:pt x="1378" y="482"/>
                  </a:lnTo>
                  <a:lnTo>
                    <a:pt x="1269" y="445"/>
                  </a:lnTo>
                  <a:lnTo>
                    <a:pt x="1164" y="416"/>
                  </a:lnTo>
                  <a:lnTo>
                    <a:pt x="1064" y="393"/>
                  </a:lnTo>
                  <a:lnTo>
                    <a:pt x="968" y="375"/>
                  </a:lnTo>
                  <a:lnTo>
                    <a:pt x="877" y="363"/>
                  </a:lnTo>
                  <a:lnTo>
                    <a:pt x="791" y="357"/>
                  </a:lnTo>
                  <a:lnTo>
                    <a:pt x="708" y="355"/>
                  </a:lnTo>
                  <a:lnTo>
                    <a:pt x="628" y="359"/>
                  </a:lnTo>
                  <a:lnTo>
                    <a:pt x="555" y="365"/>
                  </a:lnTo>
                  <a:lnTo>
                    <a:pt x="485" y="376"/>
                  </a:lnTo>
                  <a:lnTo>
                    <a:pt x="418" y="390"/>
                  </a:lnTo>
                  <a:lnTo>
                    <a:pt x="356" y="406"/>
                  </a:lnTo>
                  <a:lnTo>
                    <a:pt x="298" y="424"/>
                  </a:lnTo>
                  <a:lnTo>
                    <a:pt x="244" y="445"/>
                  </a:lnTo>
                  <a:lnTo>
                    <a:pt x="194" y="466"/>
                  </a:lnTo>
                  <a:lnTo>
                    <a:pt x="146" y="491"/>
                  </a:lnTo>
                  <a:lnTo>
                    <a:pt x="104" y="513"/>
                  </a:lnTo>
                  <a:lnTo>
                    <a:pt x="67" y="538"/>
                  </a:lnTo>
                  <a:lnTo>
                    <a:pt x="31" y="561"/>
                  </a:lnTo>
                  <a:lnTo>
                    <a:pt x="0" y="585"/>
                  </a:lnTo>
                  <a:lnTo>
                    <a:pt x="41" y="495"/>
                  </a:lnTo>
                  <a:lnTo>
                    <a:pt x="84" y="416"/>
                  </a:lnTo>
                  <a:lnTo>
                    <a:pt x="132" y="342"/>
                  </a:lnTo>
                  <a:lnTo>
                    <a:pt x="182" y="279"/>
                  </a:lnTo>
                  <a:lnTo>
                    <a:pt x="236" y="223"/>
                  </a:lnTo>
                  <a:lnTo>
                    <a:pt x="290" y="173"/>
                  </a:lnTo>
                  <a:lnTo>
                    <a:pt x="347" y="132"/>
                  </a:lnTo>
                  <a:lnTo>
                    <a:pt x="405" y="96"/>
                  </a:lnTo>
                  <a:lnTo>
                    <a:pt x="465" y="67"/>
                  </a:lnTo>
                  <a:lnTo>
                    <a:pt x="527" y="42"/>
                  </a:lnTo>
                  <a:lnTo>
                    <a:pt x="589" y="24"/>
                  </a:lnTo>
                  <a:lnTo>
                    <a:pt x="653" y="11"/>
                  </a:lnTo>
                  <a:lnTo>
                    <a:pt x="716" y="3"/>
                  </a:lnTo>
                  <a:lnTo>
                    <a:pt x="780" y="0"/>
                  </a:lnTo>
                  <a:close/>
                </a:path>
              </a:pathLst>
            </a:custGeom>
            <a:solidFill>
              <a:srgbClr val="FFFFFF">
                <a:alpha val="20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nvGrpSpPr>
          <p:cNvPr id="13" name="Group 5">
            <a:extLst>
              <a:ext uri="{FF2B5EF4-FFF2-40B4-BE49-F238E27FC236}">
                <a16:creationId xmlns:a16="http://schemas.microsoft.com/office/drawing/2014/main" id="{91A81FC7-84AF-426F-86D8-875A4F4A9D94}"/>
              </a:ext>
            </a:extLst>
          </p:cNvPr>
          <p:cNvGrpSpPr/>
          <p:nvPr/>
        </p:nvGrpSpPr>
        <p:grpSpPr>
          <a:xfrm>
            <a:off x="3263390" y="3009986"/>
            <a:ext cx="1308904" cy="980559"/>
            <a:chOff x="3163786" y="2349222"/>
            <a:chExt cx="1308904" cy="980559"/>
          </a:xfrm>
        </p:grpSpPr>
        <p:sp>
          <p:nvSpPr>
            <p:cNvPr id="14" name="Freeform 22">
              <a:extLst>
                <a:ext uri="{FF2B5EF4-FFF2-40B4-BE49-F238E27FC236}">
                  <a16:creationId xmlns:a16="http://schemas.microsoft.com/office/drawing/2014/main" id="{26E4B600-5924-464D-A2E9-2F1B7C0D0921}"/>
                </a:ext>
              </a:extLst>
            </p:cNvPr>
            <p:cNvSpPr>
              <a:spLocks/>
            </p:cNvSpPr>
            <p:nvPr/>
          </p:nvSpPr>
          <p:spPr bwMode="auto">
            <a:xfrm>
              <a:off x="3163786" y="2349222"/>
              <a:ext cx="1308904" cy="980559"/>
            </a:xfrm>
            <a:custGeom>
              <a:avLst/>
              <a:gdLst>
                <a:gd name="T0" fmla="*/ 895 w 1753"/>
                <a:gd name="T1" fmla="*/ 1 h 1315"/>
                <a:gd name="T2" fmla="*/ 1013 w 1753"/>
                <a:gd name="T3" fmla="*/ 19 h 1315"/>
                <a:gd name="T4" fmla="*/ 1122 w 1753"/>
                <a:gd name="T5" fmla="*/ 57 h 1315"/>
                <a:gd name="T6" fmla="*/ 1221 w 1753"/>
                <a:gd name="T7" fmla="*/ 109 h 1315"/>
                <a:gd name="T8" fmla="*/ 1311 w 1753"/>
                <a:gd name="T9" fmla="*/ 174 h 1315"/>
                <a:gd name="T10" fmla="*/ 1392 w 1753"/>
                <a:gd name="T11" fmla="*/ 249 h 1315"/>
                <a:gd name="T12" fmla="*/ 1465 w 1753"/>
                <a:gd name="T13" fmla="*/ 330 h 1315"/>
                <a:gd name="T14" fmla="*/ 1530 w 1753"/>
                <a:gd name="T15" fmla="*/ 415 h 1315"/>
                <a:gd name="T16" fmla="*/ 1587 w 1753"/>
                <a:gd name="T17" fmla="*/ 500 h 1315"/>
                <a:gd name="T18" fmla="*/ 1634 w 1753"/>
                <a:gd name="T19" fmla="*/ 583 h 1315"/>
                <a:gd name="T20" fmla="*/ 1674 w 1753"/>
                <a:gd name="T21" fmla="*/ 658 h 1315"/>
                <a:gd name="T22" fmla="*/ 1706 w 1753"/>
                <a:gd name="T23" fmla="*/ 725 h 1315"/>
                <a:gd name="T24" fmla="*/ 1729 w 1753"/>
                <a:gd name="T25" fmla="*/ 780 h 1315"/>
                <a:gd name="T26" fmla="*/ 1745 w 1753"/>
                <a:gd name="T27" fmla="*/ 819 h 1315"/>
                <a:gd name="T28" fmla="*/ 1753 w 1753"/>
                <a:gd name="T29" fmla="*/ 840 h 1315"/>
                <a:gd name="T30" fmla="*/ 1660 w 1753"/>
                <a:gd name="T31" fmla="*/ 928 h 1315"/>
                <a:gd name="T32" fmla="*/ 1483 w 1753"/>
                <a:gd name="T33" fmla="*/ 1070 h 1315"/>
                <a:gd name="T34" fmla="*/ 1317 w 1753"/>
                <a:gd name="T35" fmla="*/ 1176 h 1315"/>
                <a:gd name="T36" fmla="*/ 1164 w 1753"/>
                <a:gd name="T37" fmla="*/ 1249 h 1315"/>
                <a:gd name="T38" fmla="*/ 1021 w 1753"/>
                <a:gd name="T39" fmla="*/ 1295 h 1315"/>
                <a:gd name="T40" fmla="*/ 889 w 1753"/>
                <a:gd name="T41" fmla="*/ 1315 h 1315"/>
                <a:gd name="T42" fmla="*/ 767 w 1753"/>
                <a:gd name="T43" fmla="*/ 1310 h 1315"/>
                <a:gd name="T44" fmla="*/ 656 w 1753"/>
                <a:gd name="T45" fmla="*/ 1285 h 1315"/>
                <a:gd name="T46" fmla="*/ 554 w 1753"/>
                <a:gd name="T47" fmla="*/ 1245 h 1315"/>
                <a:gd name="T48" fmla="*/ 463 w 1753"/>
                <a:gd name="T49" fmla="*/ 1189 h 1315"/>
                <a:gd name="T50" fmla="*/ 380 w 1753"/>
                <a:gd name="T51" fmla="*/ 1121 h 1315"/>
                <a:gd name="T52" fmla="*/ 306 w 1753"/>
                <a:gd name="T53" fmla="*/ 1046 h 1315"/>
                <a:gd name="T54" fmla="*/ 243 w 1753"/>
                <a:gd name="T55" fmla="*/ 963 h 1315"/>
                <a:gd name="T56" fmla="*/ 186 w 1753"/>
                <a:gd name="T57" fmla="*/ 880 h 1315"/>
                <a:gd name="T58" fmla="*/ 137 w 1753"/>
                <a:gd name="T59" fmla="*/ 795 h 1315"/>
                <a:gd name="T60" fmla="*/ 98 w 1753"/>
                <a:gd name="T61" fmla="*/ 715 h 1315"/>
                <a:gd name="T62" fmla="*/ 64 w 1753"/>
                <a:gd name="T63" fmla="*/ 640 h 1315"/>
                <a:gd name="T64" fmla="*/ 39 w 1753"/>
                <a:gd name="T65" fmla="*/ 575 h 1315"/>
                <a:gd name="T66" fmla="*/ 20 w 1753"/>
                <a:gd name="T67" fmla="*/ 521 h 1315"/>
                <a:gd name="T68" fmla="*/ 8 w 1753"/>
                <a:gd name="T69" fmla="*/ 482 h 1315"/>
                <a:gd name="T70" fmla="*/ 2 w 1753"/>
                <a:gd name="T71" fmla="*/ 462 h 1315"/>
                <a:gd name="T72" fmla="*/ 88 w 1753"/>
                <a:gd name="T73" fmla="*/ 374 h 1315"/>
                <a:gd name="T74" fmla="*/ 256 w 1753"/>
                <a:gd name="T75" fmla="*/ 234 h 1315"/>
                <a:gd name="T76" fmla="*/ 415 w 1753"/>
                <a:gd name="T77" fmla="*/ 130 h 1315"/>
                <a:gd name="T78" fmla="*/ 563 w 1753"/>
                <a:gd name="T79" fmla="*/ 58 h 1315"/>
                <a:gd name="T80" fmla="*/ 703 w 1753"/>
                <a:gd name="T81" fmla="*/ 16 h 1315"/>
                <a:gd name="T82" fmla="*/ 834 w 1753"/>
                <a:gd name="T83" fmla="*/ 0 h 1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53" h="1315">
                  <a:moveTo>
                    <a:pt x="834" y="0"/>
                  </a:moveTo>
                  <a:lnTo>
                    <a:pt x="895" y="1"/>
                  </a:lnTo>
                  <a:lnTo>
                    <a:pt x="956" y="8"/>
                  </a:lnTo>
                  <a:lnTo>
                    <a:pt x="1013" y="19"/>
                  </a:lnTo>
                  <a:lnTo>
                    <a:pt x="1068" y="35"/>
                  </a:lnTo>
                  <a:lnTo>
                    <a:pt x="1122" y="57"/>
                  </a:lnTo>
                  <a:lnTo>
                    <a:pt x="1172" y="81"/>
                  </a:lnTo>
                  <a:lnTo>
                    <a:pt x="1221" y="109"/>
                  </a:lnTo>
                  <a:lnTo>
                    <a:pt x="1267" y="140"/>
                  </a:lnTo>
                  <a:lnTo>
                    <a:pt x="1311" y="174"/>
                  </a:lnTo>
                  <a:lnTo>
                    <a:pt x="1353" y="211"/>
                  </a:lnTo>
                  <a:lnTo>
                    <a:pt x="1392" y="249"/>
                  </a:lnTo>
                  <a:lnTo>
                    <a:pt x="1429" y="290"/>
                  </a:lnTo>
                  <a:lnTo>
                    <a:pt x="1465" y="330"/>
                  </a:lnTo>
                  <a:lnTo>
                    <a:pt x="1499" y="373"/>
                  </a:lnTo>
                  <a:lnTo>
                    <a:pt x="1530" y="415"/>
                  </a:lnTo>
                  <a:lnTo>
                    <a:pt x="1560" y="458"/>
                  </a:lnTo>
                  <a:lnTo>
                    <a:pt x="1587" y="500"/>
                  </a:lnTo>
                  <a:lnTo>
                    <a:pt x="1612" y="542"/>
                  </a:lnTo>
                  <a:lnTo>
                    <a:pt x="1634" y="583"/>
                  </a:lnTo>
                  <a:lnTo>
                    <a:pt x="1656" y="622"/>
                  </a:lnTo>
                  <a:lnTo>
                    <a:pt x="1674" y="658"/>
                  </a:lnTo>
                  <a:lnTo>
                    <a:pt x="1691" y="694"/>
                  </a:lnTo>
                  <a:lnTo>
                    <a:pt x="1706" y="725"/>
                  </a:lnTo>
                  <a:lnTo>
                    <a:pt x="1719" y="754"/>
                  </a:lnTo>
                  <a:lnTo>
                    <a:pt x="1729" y="780"/>
                  </a:lnTo>
                  <a:lnTo>
                    <a:pt x="1739" y="803"/>
                  </a:lnTo>
                  <a:lnTo>
                    <a:pt x="1745" y="819"/>
                  </a:lnTo>
                  <a:lnTo>
                    <a:pt x="1750" y="832"/>
                  </a:lnTo>
                  <a:lnTo>
                    <a:pt x="1753" y="840"/>
                  </a:lnTo>
                  <a:lnTo>
                    <a:pt x="1753" y="844"/>
                  </a:lnTo>
                  <a:lnTo>
                    <a:pt x="1660" y="928"/>
                  </a:lnTo>
                  <a:lnTo>
                    <a:pt x="1571" y="1003"/>
                  </a:lnTo>
                  <a:lnTo>
                    <a:pt x="1483" y="1070"/>
                  </a:lnTo>
                  <a:lnTo>
                    <a:pt x="1398" y="1127"/>
                  </a:lnTo>
                  <a:lnTo>
                    <a:pt x="1317" y="1176"/>
                  </a:lnTo>
                  <a:lnTo>
                    <a:pt x="1239" y="1217"/>
                  </a:lnTo>
                  <a:lnTo>
                    <a:pt x="1164" y="1249"/>
                  </a:lnTo>
                  <a:lnTo>
                    <a:pt x="1091" y="1276"/>
                  </a:lnTo>
                  <a:lnTo>
                    <a:pt x="1021" y="1295"/>
                  </a:lnTo>
                  <a:lnTo>
                    <a:pt x="952" y="1308"/>
                  </a:lnTo>
                  <a:lnTo>
                    <a:pt x="889" y="1315"/>
                  </a:lnTo>
                  <a:lnTo>
                    <a:pt x="827" y="1315"/>
                  </a:lnTo>
                  <a:lnTo>
                    <a:pt x="767" y="1310"/>
                  </a:lnTo>
                  <a:lnTo>
                    <a:pt x="710" y="1300"/>
                  </a:lnTo>
                  <a:lnTo>
                    <a:pt x="656" y="1285"/>
                  </a:lnTo>
                  <a:lnTo>
                    <a:pt x="604" y="1267"/>
                  </a:lnTo>
                  <a:lnTo>
                    <a:pt x="554" y="1245"/>
                  </a:lnTo>
                  <a:lnTo>
                    <a:pt x="506" y="1219"/>
                  </a:lnTo>
                  <a:lnTo>
                    <a:pt x="463" y="1189"/>
                  </a:lnTo>
                  <a:lnTo>
                    <a:pt x="420" y="1157"/>
                  </a:lnTo>
                  <a:lnTo>
                    <a:pt x="380" y="1121"/>
                  </a:lnTo>
                  <a:lnTo>
                    <a:pt x="342" y="1083"/>
                  </a:lnTo>
                  <a:lnTo>
                    <a:pt x="306" y="1046"/>
                  </a:lnTo>
                  <a:lnTo>
                    <a:pt x="274" y="1005"/>
                  </a:lnTo>
                  <a:lnTo>
                    <a:pt x="243" y="963"/>
                  </a:lnTo>
                  <a:lnTo>
                    <a:pt x="213" y="922"/>
                  </a:lnTo>
                  <a:lnTo>
                    <a:pt x="186" y="880"/>
                  </a:lnTo>
                  <a:lnTo>
                    <a:pt x="161" y="837"/>
                  </a:lnTo>
                  <a:lnTo>
                    <a:pt x="137" y="795"/>
                  </a:lnTo>
                  <a:lnTo>
                    <a:pt x="116" y="754"/>
                  </a:lnTo>
                  <a:lnTo>
                    <a:pt x="98" y="715"/>
                  </a:lnTo>
                  <a:lnTo>
                    <a:pt x="80" y="676"/>
                  </a:lnTo>
                  <a:lnTo>
                    <a:pt x="64" y="640"/>
                  </a:lnTo>
                  <a:lnTo>
                    <a:pt x="51" y="606"/>
                  </a:lnTo>
                  <a:lnTo>
                    <a:pt x="39" y="575"/>
                  </a:lnTo>
                  <a:lnTo>
                    <a:pt x="28" y="546"/>
                  </a:lnTo>
                  <a:lnTo>
                    <a:pt x="20" y="521"/>
                  </a:lnTo>
                  <a:lnTo>
                    <a:pt x="13" y="500"/>
                  </a:lnTo>
                  <a:lnTo>
                    <a:pt x="8" y="482"/>
                  </a:lnTo>
                  <a:lnTo>
                    <a:pt x="4" y="471"/>
                  </a:lnTo>
                  <a:lnTo>
                    <a:pt x="2" y="462"/>
                  </a:lnTo>
                  <a:lnTo>
                    <a:pt x="0" y="459"/>
                  </a:lnTo>
                  <a:lnTo>
                    <a:pt x="88" y="374"/>
                  </a:lnTo>
                  <a:lnTo>
                    <a:pt x="174" y="299"/>
                  </a:lnTo>
                  <a:lnTo>
                    <a:pt x="256" y="234"/>
                  </a:lnTo>
                  <a:lnTo>
                    <a:pt x="337" y="177"/>
                  </a:lnTo>
                  <a:lnTo>
                    <a:pt x="415" y="130"/>
                  </a:lnTo>
                  <a:lnTo>
                    <a:pt x="490" y="89"/>
                  </a:lnTo>
                  <a:lnTo>
                    <a:pt x="563" y="58"/>
                  </a:lnTo>
                  <a:lnTo>
                    <a:pt x="635" y="34"/>
                  </a:lnTo>
                  <a:lnTo>
                    <a:pt x="703" y="16"/>
                  </a:lnTo>
                  <a:lnTo>
                    <a:pt x="770" y="4"/>
                  </a:lnTo>
                  <a:lnTo>
                    <a:pt x="834"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5" name="Freeform 29">
              <a:extLst>
                <a:ext uri="{FF2B5EF4-FFF2-40B4-BE49-F238E27FC236}">
                  <a16:creationId xmlns:a16="http://schemas.microsoft.com/office/drawing/2014/main" id="{A533F1FC-C4A1-426A-A8A5-4682E0339475}"/>
                </a:ext>
              </a:extLst>
            </p:cNvPr>
            <p:cNvSpPr>
              <a:spLocks/>
            </p:cNvSpPr>
            <p:nvPr/>
          </p:nvSpPr>
          <p:spPr bwMode="auto">
            <a:xfrm>
              <a:off x="3441387" y="2673089"/>
              <a:ext cx="1031302" cy="656691"/>
            </a:xfrm>
            <a:custGeom>
              <a:avLst/>
              <a:gdLst>
                <a:gd name="T0" fmla="*/ 1174 w 1382"/>
                <a:gd name="T1" fmla="*/ 0 h 880"/>
                <a:gd name="T2" fmla="*/ 1206 w 1382"/>
                <a:gd name="T3" fmla="*/ 52 h 880"/>
                <a:gd name="T4" fmla="*/ 1237 w 1382"/>
                <a:gd name="T5" fmla="*/ 102 h 880"/>
                <a:gd name="T6" fmla="*/ 1265 w 1382"/>
                <a:gd name="T7" fmla="*/ 151 h 880"/>
                <a:gd name="T8" fmla="*/ 1291 w 1382"/>
                <a:gd name="T9" fmla="*/ 199 h 880"/>
                <a:gd name="T10" fmla="*/ 1312 w 1382"/>
                <a:gd name="T11" fmla="*/ 243 h 880"/>
                <a:gd name="T12" fmla="*/ 1332 w 1382"/>
                <a:gd name="T13" fmla="*/ 282 h 880"/>
                <a:gd name="T14" fmla="*/ 1346 w 1382"/>
                <a:gd name="T15" fmla="*/ 317 h 880"/>
                <a:gd name="T16" fmla="*/ 1359 w 1382"/>
                <a:gd name="T17" fmla="*/ 348 h 880"/>
                <a:gd name="T18" fmla="*/ 1369 w 1382"/>
                <a:gd name="T19" fmla="*/ 374 h 880"/>
                <a:gd name="T20" fmla="*/ 1377 w 1382"/>
                <a:gd name="T21" fmla="*/ 392 h 880"/>
                <a:gd name="T22" fmla="*/ 1381 w 1382"/>
                <a:gd name="T23" fmla="*/ 405 h 880"/>
                <a:gd name="T24" fmla="*/ 1382 w 1382"/>
                <a:gd name="T25" fmla="*/ 409 h 880"/>
                <a:gd name="T26" fmla="*/ 1293 w 1382"/>
                <a:gd name="T27" fmla="*/ 490 h 880"/>
                <a:gd name="T28" fmla="*/ 1206 w 1382"/>
                <a:gd name="T29" fmla="*/ 564 h 880"/>
                <a:gd name="T30" fmla="*/ 1122 w 1382"/>
                <a:gd name="T31" fmla="*/ 629 h 880"/>
                <a:gd name="T32" fmla="*/ 1040 w 1382"/>
                <a:gd name="T33" fmla="*/ 684 h 880"/>
                <a:gd name="T34" fmla="*/ 961 w 1382"/>
                <a:gd name="T35" fmla="*/ 733 h 880"/>
                <a:gd name="T36" fmla="*/ 884 w 1382"/>
                <a:gd name="T37" fmla="*/ 774 h 880"/>
                <a:gd name="T38" fmla="*/ 811 w 1382"/>
                <a:gd name="T39" fmla="*/ 808 h 880"/>
                <a:gd name="T40" fmla="*/ 741 w 1382"/>
                <a:gd name="T41" fmla="*/ 834 h 880"/>
                <a:gd name="T42" fmla="*/ 673 w 1382"/>
                <a:gd name="T43" fmla="*/ 855 h 880"/>
                <a:gd name="T44" fmla="*/ 606 w 1382"/>
                <a:gd name="T45" fmla="*/ 870 h 880"/>
                <a:gd name="T46" fmla="*/ 542 w 1382"/>
                <a:gd name="T47" fmla="*/ 878 h 880"/>
                <a:gd name="T48" fmla="*/ 482 w 1382"/>
                <a:gd name="T49" fmla="*/ 880 h 880"/>
                <a:gd name="T50" fmla="*/ 424 w 1382"/>
                <a:gd name="T51" fmla="*/ 878 h 880"/>
                <a:gd name="T52" fmla="*/ 367 w 1382"/>
                <a:gd name="T53" fmla="*/ 872 h 880"/>
                <a:gd name="T54" fmla="*/ 313 w 1382"/>
                <a:gd name="T55" fmla="*/ 860 h 880"/>
                <a:gd name="T56" fmla="*/ 262 w 1382"/>
                <a:gd name="T57" fmla="*/ 844 h 880"/>
                <a:gd name="T58" fmla="*/ 214 w 1382"/>
                <a:gd name="T59" fmla="*/ 824 h 880"/>
                <a:gd name="T60" fmla="*/ 166 w 1382"/>
                <a:gd name="T61" fmla="*/ 800 h 880"/>
                <a:gd name="T62" fmla="*/ 122 w 1382"/>
                <a:gd name="T63" fmla="*/ 774 h 880"/>
                <a:gd name="T64" fmla="*/ 79 w 1382"/>
                <a:gd name="T65" fmla="*/ 744 h 880"/>
                <a:gd name="T66" fmla="*/ 39 w 1382"/>
                <a:gd name="T67" fmla="*/ 712 h 880"/>
                <a:gd name="T68" fmla="*/ 0 w 1382"/>
                <a:gd name="T69" fmla="*/ 678 h 880"/>
                <a:gd name="T70" fmla="*/ 80 w 1382"/>
                <a:gd name="T71" fmla="*/ 700 h 880"/>
                <a:gd name="T72" fmla="*/ 158 w 1382"/>
                <a:gd name="T73" fmla="*/ 713 h 880"/>
                <a:gd name="T74" fmla="*/ 233 w 1382"/>
                <a:gd name="T75" fmla="*/ 715 h 880"/>
                <a:gd name="T76" fmla="*/ 308 w 1382"/>
                <a:gd name="T77" fmla="*/ 709 h 880"/>
                <a:gd name="T78" fmla="*/ 381 w 1382"/>
                <a:gd name="T79" fmla="*/ 694 h 880"/>
                <a:gd name="T80" fmla="*/ 451 w 1382"/>
                <a:gd name="T81" fmla="*/ 671 h 880"/>
                <a:gd name="T82" fmla="*/ 521 w 1382"/>
                <a:gd name="T83" fmla="*/ 642 h 880"/>
                <a:gd name="T84" fmla="*/ 588 w 1382"/>
                <a:gd name="T85" fmla="*/ 606 h 880"/>
                <a:gd name="T86" fmla="*/ 651 w 1382"/>
                <a:gd name="T87" fmla="*/ 565 h 880"/>
                <a:gd name="T88" fmla="*/ 713 w 1382"/>
                <a:gd name="T89" fmla="*/ 521 h 880"/>
                <a:gd name="T90" fmla="*/ 772 w 1382"/>
                <a:gd name="T91" fmla="*/ 474 h 880"/>
                <a:gd name="T92" fmla="*/ 827 w 1382"/>
                <a:gd name="T93" fmla="*/ 423 h 880"/>
                <a:gd name="T94" fmla="*/ 881 w 1382"/>
                <a:gd name="T95" fmla="*/ 371 h 880"/>
                <a:gd name="T96" fmla="*/ 930 w 1382"/>
                <a:gd name="T97" fmla="*/ 319 h 880"/>
                <a:gd name="T98" fmla="*/ 977 w 1382"/>
                <a:gd name="T99" fmla="*/ 267 h 880"/>
                <a:gd name="T100" fmla="*/ 1019 w 1382"/>
                <a:gd name="T101" fmla="*/ 215 h 880"/>
                <a:gd name="T102" fmla="*/ 1058 w 1382"/>
                <a:gd name="T103" fmla="*/ 166 h 880"/>
                <a:gd name="T104" fmla="*/ 1093 w 1382"/>
                <a:gd name="T105" fmla="*/ 119 h 880"/>
                <a:gd name="T106" fmla="*/ 1123 w 1382"/>
                <a:gd name="T107" fmla="*/ 75 h 880"/>
                <a:gd name="T108" fmla="*/ 1151 w 1382"/>
                <a:gd name="T109" fmla="*/ 36 h 880"/>
                <a:gd name="T110" fmla="*/ 1174 w 1382"/>
                <a:gd name="T111"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2" h="880">
                  <a:moveTo>
                    <a:pt x="1174" y="0"/>
                  </a:moveTo>
                  <a:lnTo>
                    <a:pt x="1206" y="52"/>
                  </a:lnTo>
                  <a:lnTo>
                    <a:pt x="1237" y="102"/>
                  </a:lnTo>
                  <a:lnTo>
                    <a:pt x="1265" y="151"/>
                  </a:lnTo>
                  <a:lnTo>
                    <a:pt x="1291" y="199"/>
                  </a:lnTo>
                  <a:lnTo>
                    <a:pt x="1312" y="243"/>
                  </a:lnTo>
                  <a:lnTo>
                    <a:pt x="1332" y="282"/>
                  </a:lnTo>
                  <a:lnTo>
                    <a:pt x="1346" y="317"/>
                  </a:lnTo>
                  <a:lnTo>
                    <a:pt x="1359" y="348"/>
                  </a:lnTo>
                  <a:lnTo>
                    <a:pt x="1369" y="374"/>
                  </a:lnTo>
                  <a:lnTo>
                    <a:pt x="1377" y="392"/>
                  </a:lnTo>
                  <a:lnTo>
                    <a:pt x="1381" y="405"/>
                  </a:lnTo>
                  <a:lnTo>
                    <a:pt x="1382" y="409"/>
                  </a:lnTo>
                  <a:lnTo>
                    <a:pt x="1293" y="490"/>
                  </a:lnTo>
                  <a:lnTo>
                    <a:pt x="1206" y="564"/>
                  </a:lnTo>
                  <a:lnTo>
                    <a:pt x="1122" y="629"/>
                  </a:lnTo>
                  <a:lnTo>
                    <a:pt x="1040" y="684"/>
                  </a:lnTo>
                  <a:lnTo>
                    <a:pt x="961" y="733"/>
                  </a:lnTo>
                  <a:lnTo>
                    <a:pt x="884" y="774"/>
                  </a:lnTo>
                  <a:lnTo>
                    <a:pt x="811" y="808"/>
                  </a:lnTo>
                  <a:lnTo>
                    <a:pt x="741" y="834"/>
                  </a:lnTo>
                  <a:lnTo>
                    <a:pt x="673" y="855"/>
                  </a:lnTo>
                  <a:lnTo>
                    <a:pt x="606" y="870"/>
                  </a:lnTo>
                  <a:lnTo>
                    <a:pt x="542" y="878"/>
                  </a:lnTo>
                  <a:lnTo>
                    <a:pt x="482" y="880"/>
                  </a:lnTo>
                  <a:lnTo>
                    <a:pt x="424" y="878"/>
                  </a:lnTo>
                  <a:lnTo>
                    <a:pt x="367" y="872"/>
                  </a:lnTo>
                  <a:lnTo>
                    <a:pt x="313" y="860"/>
                  </a:lnTo>
                  <a:lnTo>
                    <a:pt x="262" y="844"/>
                  </a:lnTo>
                  <a:lnTo>
                    <a:pt x="214" y="824"/>
                  </a:lnTo>
                  <a:lnTo>
                    <a:pt x="166" y="800"/>
                  </a:lnTo>
                  <a:lnTo>
                    <a:pt x="122" y="774"/>
                  </a:lnTo>
                  <a:lnTo>
                    <a:pt x="79" y="744"/>
                  </a:lnTo>
                  <a:lnTo>
                    <a:pt x="39" y="712"/>
                  </a:lnTo>
                  <a:lnTo>
                    <a:pt x="0" y="678"/>
                  </a:lnTo>
                  <a:lnTo>
                    <a:pt x="80" y="700"/>
                  </a:lnTo>
                  <a:lnTo>
                    <a:pt x="158" y="713"/>
                  </a:lnTo>
                  <a:lnTo>
                    <a:pt x="233" y="715"/>
                  </a:lnTo>
                  <a:lnTo>
                    <a:pt x="308" y="709"/>
                  </a:lnTo>
                  <a:lnTo>
                    <a:pt x="381" y="694"/>
                  </a:lnTo>
                  <a:lnTo>
                    <a:pt x="451" y="671"/>
                  </a:lnTo>
                  <a:lnTo>
                    <a:pt x="521" y="642"/>
                  </a:lnTo>
                  <a:lnTo>
                    <a:pt x="588" y="606"/>
                  </a:lnTo>
                  <a:lnTo>
                    <a:pt x="651" y="565"/>
                  </a:lnTo>
                  <a:lnTo>
                    <a:pt x="713" y="521"/>
                  </a:lnTo>
                  <a:lnTo>
                    <a:pt x="772" y="474"/>
                  </a:lnTo>
                  <a:lnTo>
                    <a:pt x="827" y="423"/>
                  </a:lnTo>
                  <a:lnTo>
                    <a:pt x="881" y="371"/>
                  </a:lnTo>
                  <a:lnTo>
                    <a:pt x="930" y="319"/>
                  </a:lnTo>
                  <a:lnTo>
                    <a:pt x="977" y="267"/>
                  </a:lnTo>
                  <a:lnTo>
                    <a:pt x="1019" y="215"/>
                  </a:lnTo>
                  <a:lnTo>
                    <a:pt x="1058" y="166"/>
                  </a:lnTo>
                  <a:lnTo>
                    <a:pt x="1093" y="119"/>
                  </a:lnTo>
                  <a:lnTo>
                    <a:pt x="1123" y="75"/>
                  </a:lnTo>
                  <a:lnTo>
                    <a:pt x="1151" y="36"/>
                  </a:lnTo>
                  <a:lnTo>
                    <a:pt x="1174"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16" name="Group 19">
            <a:extLst>
              <a:ext uri="{FF2B5EF4-FFF2-40B4-BE49-F238E27FC236}">
                <a16:creationId xmlns:a16="http://schemas.microsoft.com/office/drawing/2014/main" id="{DB2ABD64-043E-4C85-8065-6885E7FEED78}"/>
              </a:ext>
            </a:extLst>
          </p:cNvPr>
          <p:cNvGrpSpPr/>
          <p:nvPr/>
        </p:nvGrpSpPr>
        <p:grpSpPr>
          <a:xfrm>
            <a:off x="3872321" y="2171213"/>
            <a:ext cx="826832" cy="817879"/>
            <a:chOff x="3772717" y="1510449"/>
            <a:chExt cx="826832" cy="817879"/>
          </a:xfrm>
        </p:grpSpPr>
        <p:sp>
          <p:nvSpPr>
            <p:cNvPr id="17" name="Freeform 23">
              <a:extLst>
                <a:ext uri="{FF2B5EF4-FFF2-40B4-BE49-F238E27FC236}">
                  <a16:creationId xmlns:a16="http://schemas.microsoft.com/office/drawing/2014/main" id="{6BCD5293-E63A-44A7-B938-EE0A983DEBC0}"/>
                </a:ext>
              </a:extLst>
            </p:cNvPr>
            <p:cNvSpPr>
              <a:spLocks/>
            </p:cNvSpPr>
            <p:nvPr/>
          </p:nvSpPr>
          <p:spPr bwMode="auto">
            <a:xfrm>
              <a:off x="3772717" y="1510449"/>
              <a:ext cx="825340" cy="817878"/>
            </a:xfrm>
            <a:custGeom>
              <a:avLst/>
              <a:gdLst>
                <a:gd name="T0" fmla="*/ 491 w 1107"/>
                <a:gd name="T1" fmla="*/ 1 h 1095"/>
                <a:gd name="T2" fmla="*/ 626 w 1107"/>
                <a:gd name="T3" fmla="*/ 21 h 1095"/>
                <a:gd name="T4" fmla="*/ 740 w 1107"/>
                <a:gd name="T5" fmla="*/ 57 h 1095"/>
                <a:gd name="T6" fmla="*/ 836 w 1107"/>
                <a:gd name="T7" fmla="*/ 107 h 1095"/>
                <a:gd name="T8" fmla="*/ 914 w 1107"/>
                <a:gd name="T9" fmla="*/ 171 h 1095"/>
                <a:gd name="T10" fmla="*/ 976 w 1107"/>
                <a:gd name="T11" fmla="*/ 244 h 1095"/>
                <a:gd name="T12" fmla="*/ 1024 w 1107"/>
                <a:gd name="T13" fmla="*/ 326 h 1095"/>
                <a:gd name="T14" fmla="*/ 1059 w 1107"/>
                <a:gd name="T15" fmla="*/ 414 h 1095"/>
                <a:gd name="T16" fmla="*/ 1084 w 1107"/>
                <a:gd name="T17" fmla="*/ 503 h 1095"/>
                <a:gd name="T18" fmla="*/ 1098 w 1107"/>
                <a:gd name="T19" fmla="*/ 593 h 1095"/>
                <a:gd name="T20" fmla="*/ 1107 w 1107"/>
                <a:gd name="T21" fmla="*/ 683 h 1095"/>
                <a:gd name="T22" fmla="*/ 1107 w 1107"/>
                <a:gd name="T23" fmla="*/ 767 h 1095"/>
                <a:gd name="T24" fmla="*/ 1103 w 1107"/>
                <a:gd name="T25" fmla="*/ 846 h 1095"/>
                <a:gd name="T26" fmla="*/ 1097 w 1107"/>
                <a:gd name="T27" fmla="*/ 914 h 1095"/>
                <a:gd name="T28" fmla="*/ 1089 w 1107"/>
                <a:gd name="T29" fmla="*/ 973 h 1095"/>
                <a:gd name="T30" fmla="*/ 1082 w 1107"/>
                <a:gd name="T31" fmla="*/ 1017 h 1095"/>
                <a:gd name="T32" fmla="*/ 1076 w 1107"/>
                <a:gd name="T33" fmla="*/ 1046 h 1095"/>
                <a:gd name="T34" fmla="*/ 1074 w 1107"/>
                <a:gd name="T35" fmla="*/ 1056 h 1095"/>
                <a:gd name="T36" fmla="*/ 872 w 1107"/>
                <a:gd name="T37" fmla="*/ 1087 h 1095"/>
                <a:gd name="T38" fmla="*/ 698 w 1107"/>
                <a:gd name="T39" fmla="*/ 1095 h 1095"/>
                <a:gd name="T40" fmla="*/ 547 w 1107"/>
                <a:gd name="T41" fmla="*/ 1085 h 1095"/>
                <a:gd name="T42" fmla="*/ 418 w 1107"/>
                <a:gd name="T43" fmla="*/ 1057 h 1095"/>
                <a:gd name="T44" fmla="*/ 311 w 1107"/>
                <a:gd name="T45" fmla="*/ 1015 h 1095"/>
                <a:gd name="T46" fmla="*/ 223 w 1107"/>
                <a:gd name="T47" fmla="*/ 961 h 1095"/>
                <a:gd name="T48" fmla="*/ 153 w 1107"/>
                <a:gd name="T49" fmla="*/ 894 h 1095"/>
                <a:gd name="T50" fmla="*/ 97 w 1107"/>
                <a:gd name="T51" fmla="*/ 821 h 1095"/>
                <a:gd name="T52" fmla="*/ 57 w 1107"/>
                <a:gd name="T53" fmla="*/ 740 h 1095"/>
                <a:gd name="T54" fmla="*/ 27 w 1107"/>
                <a:gd name="T55" fmla="*/ 655 h 1095"/>
                <a:gd name="T56" fmla="*/ 9 w 1107"/>
                <a:gd name="T57" fmla="*/ 569 h 1095"/>
                <a:gd name="T58" fmla="*/ 1 w 1107"/>
                <a:gd name="T59" fmla="*/ 482 h 1095"/>
                <a:gd name="T60" fmla="*/ 0 w 1107"/>
                <a:gd name="T61" fmla="*/ 397 h 1095"/>
                <a:gd name="T62" fmla="*/ 5 w 1107"/>
                <a:gd name="T63" fmla="*/ 318 h 1095"/>
                <a:gd name="T64" fmla="*/ 13 w 1107"/>
                <a:gd name="T65" fmla="*/ 243 h 1095"/>
                <a:gd name="T66" fmla="*/ 23 w 1107"/>
                <a:gd name="T67" fmla="*/ 177 h 1095"/>
                <a:gd name="T68" fmla="*/ 34 w 1107"/>
                <a:gd name="T69" fmla="*/ 124 h 1095"/>
                <a:gd name="T70" fmla="*/ 44 w 1107"/>
                <a:gd name="T71" fmla="*/ 83 h 1095"/>
                <a:gd name="T72" fmla="*/ 52 w 1107"/>
                <a:gd name="T73" fmla="*/ 55 h 1095"/>
                <a:gd name="T74" fmla="*/ 53 w 1107"/>
                <a:gd name="T75" fmla="*/ 47 h 1095"/>
                <a:gd name="T76" fmla="*/ 247 w 1107"/>
                <a:gd name="T77" fmla="*/ 11 h 1095"/>
                <a:gd name="T78" fmla="*/ 416 w 1107"/>
                <a:gd name="T79" fmla="*/ 0 h 1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7" h="1095">
                  <a:moveTo>
                    <a:pt x="416" y="0"/>
                  </a:moveTo>
                  <a:lnTo>
                    <a:pt x="491" y="1"/>
                  </a:lnTo>
                  <a:lnTo>
                    <a:pt x="561" y="8"/>
                  </a:lnTo>
                  <a:lnTo>
                    <a:pt x="626" y="21"/>
                  </a:lnTo>
                  <a:lnTo>
                    <a:pt x="687" y="36"/>
                  </a:lnTo>
                  <a:lnTo>
                    <a:pt x="740" y="57"/>
                  </a:lnTo>
                  <a:lnTo>
                    <a:pt x="791" y="80"/>
                  </a:lnTo>
                  <a:lnTo>
                    <a:pt x="836" y="107"/>
                  </a:lnTo>
                  <a:lnTo>
                    <a:pt x="877" y="138"/>
                  </a:lnTo>
                  <a:lnTo>
                    <a:pt x="914" y="171"/>
                  </a:lnTo>
                  <a:lnTo>
                    <a:pt x="947" y="207"/>
                  </a:lnTo>
                  <a:lnTo>
                    <a:pt x="976" y="244"/>
                  </a:lnTo>
                  <a:lnTo>
                    <a:pt x="1002" y="285"/>
                  </a:lnTo>
                  <a:lnTo>
                    <a:pt x="1024" y="326"/>
                  </a:lnTo>
                  <a:lnTo>
                    <a:pt x="1043" y="370"/>
                  </a:lnTo>
                  <a:lnTo>
                    <a:pt x="1059" y="414"/>
                  </a:lnTo>
                  <a:lnTo>
                    <a:pt x="1072" y="458"/>
                  </a:lnTo>
                  <a:lnTo>
                    <a:pt x="1084" y="503"/>
                  </a:lnTo>
                  <a:lnTo>
                    <a:pt x="1092" y="549"/>
                  </a:lnTo>
                  <a:lnTo>
                    <a:pt x="1098" y="593"/>
                  </a:lnTo>
                  <a:lnTo>
                    <a:pt x="1103" y="639"/>
                  </a:lnTo>
                  <a:lnTo>
                    <a:pt x="1107" y="683"/>
                  </a:lnTo>
                  <a:lnTo>
                    <a:pt x="1107" y="725"/>
                  </a:lnTo>
                  <a:lnTo>
                    <a:pt x="1107" y="767"/>
                  </a:lnTo>
                  <a:lnTo>
                    <a:pt x="1107" y="806"/>
                  </a:lnTo>
                  <a:lnTo>
                    <a:pt x="1103" y="846"/>
                  </a:lnTo>
                  <a:lnTo>
                    <a:pt x="1100" y="881"/>
                  </a:lnTo>
                  <a:lnTo>
                    <a:pt x="1097" y="914"/>
                  </a:lnTo>
                  <a:lnTo>
                    <a:pt x="1094" y="945"/>
                  </a:lnTo>
                  <a:lnTo>
                    <a:pt x="1089" y="973"/>
                  </a:lnTo>
                  <a:lnTo>
                    <a:pt x="1085" y="997"/>
                  </a:lnTo>
                  <a:lnTo>
                    <a:pt x="1082" y="1017"/>
                  </a:lnTo>
                  <a:lnTo>
                    <a:pt x="1079" y="1033"/>
                  </a:lnTo>
                  <a:lnTo>
                    <a:pt x="1076" y="1046"/>
                  </a:lnTo>
                  <a:lnTo>
                    <a:pt x="1074" y="1053"/>
                  </a:lnTo>
                  <a:lnTo>
                    <a:pt x="1074" y="1056"/>
                  </a:lnTo>
                  <a:lnTo>
                    <a:pt x="970" y="1074"/>
                  </a:lnTo>
                  <a:lnTo>
                    <a:pt x="872" y="1087"/>
                  </a:lnTo>
                  <a:lnTo>
                    <a:pt x="783" y="1093"/>
                  </a:lnTo>
                  <a:lnTo>
                    <a:pt x="698" y="1095"/>
                  </a:lnTo>
                  <a:lnTo>
                    <a:pt x="620" y="1092"/>
                  </a:lnTo>
                  <a:lnTo>
                    <a:pt x="547" y="1085"/>
                  </a:lnTo>
                  <a:lnTo>
                    <a:pt x="480" y="1074"/>
                  </a:lnTo>
                  <a:lnTo>
                    <a:pt x="418" y="1057"/>
                  </a:lnTo>
                  <a:lnTo>
                    <a:pt x="363" y="1038"/>
                  </a:lnTo>
                  <a:lnTo>
                    <a:pt x="311" y="1015"/>
                  </a:lnTo>
                  <a:lnTo>
                    <a:pt x="265" y="989"/>
                  </a:lnTo>
                  <a:lnTo>
                    <a:pt x="223" y="961"/>
                  </a:lnTo>
                  <a:lnTo>
                    <a:pt x="185" y="929"/>
                  </a:lnTo>
                  <a:lnTo>
                    <a:pt x="153" y="894"/>
                  </a:lnTo>
                  <a:lnTo>
                    <a:pt x="123" y="859"/>
                  </a:lnTo>
                  <a:lnTo>
                    <a:pt x="97" y="821"/>
                  </a:lnTo>
                  <a:lnTo>
                    <a:pt x="75" y="782"/>
                  </a:lnTo>
                  <a:lnTo>
                    <a:pt x="57" y="740"/>
                  </a:lnTo>
                  <a:lnTo>
                    <a:pt x="40" y="699"/>
                  </a:lnTo>
                  <a:lnTo>
                    <a:pt x="27" y="655"/>
                  </a:lnTo>
                  <a:lnTo>
                    <a:pt x="18" y="613"/>
                  </a:lnTo>
                  <a:lnTo>
                    <a:pt x="9" y="569"/>
                  </a:lnTo>
                  <a:lnTo>
                    <a:pt x="5" y="525"/>
                  </a:lnTo>
                  <a:lnTo>
                    <a:pt x="1" y="482"/>
                  </a:lnTo>
                  <a:lnTo>
                    <a:pt x="0" y="440"/>
                  </a:lnTo>
                  <a:lnTo>
                    <a:pt x="0" y="397"/>
                  </a:lnTo>
                  <a:lnTo>
                    <a:pt x="1" y="357"/>
                  </a:lnTo>
                  <a:lnTo>
                    <a:pt x="5" y="318"/>
                  </a:lnTo>
                  <a:lnTo>
                    <a:pt x="8" y="280"/>
                  </a:lnTo>
                  <a:lnTo>
                    <a:pt x="13" y="243"/>
                  </a:lnTo>
                  <a:lnTo>
                    <a:pt x="18" y="210"/>
                  </a:lnTo>
                  <a:lnTo>
                    <a:pt x="23" y="177"/>
                  </a:lnTo>
                  <a:lnTo>
                    <a:pt x="29" y="150"/>
                  </a:lnTo>
                  <a:lnTo>
                    <a:pt x="34" y="124"/>
                  </a:lnTo>
                  <a:lnTo>
                    <a:pt x="39" y="101"/>
                  </a:lnTo>
                  <a:lnTo>
                    <a:pt x="44" y="83"/>
                  </a:lnTo>
                  <a:lnTo>
                    <a:pt x="49" y="67"/>
                  </a:lnTo>
                  <a:lnTo>
                    <a:pt x="52" y="55"/>
                  </a:lnTo>
                  <a:lnTo>
                    <a:pt x="53" y="49"/>
                  </a:lnTo>
                  <a:lnTo>
                    <a:pt x="53" y="47"/>
                  </a:lnTo>
                  <a:lnTo>
                    <a:pt x="154" y="26"/>
                  </a:lnTo>
                  <a:lnTo>
                    <a:pt x="247" y="11"/>
                  </a:lnTo>
                  <a:lnTo>
                    <a:pt x="335" y="3"/>
                  </a:lnTo>
                  <a:lnTo>
                    <a:pt x="416"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8" name="Freeform 30">
              <a:extLst>
                <a:ext uri="{FF2B5EF4-FFF2-40B4-BE49-F238E27FC236}">
                  <a16:creationId xmlns:a16="http://schemas.microsoft.com/office/drawing/2014/main" id="{42368D32-968E-451E-8AB8-D34E85241E7B}"/>
                </a:ext>
              </a:extLst>
            </p:cNvPr>
            <p:cNvSpPr>
              <a:spLocks/>
            </p:cNvSpPr>
            <p:nvPr/>
          </p:nvSpPr>
          <p:spPr bwMode="auto">
            <a:xfrm>
              <a:off x="4226429" y="1523881"/>
              <a:ext cx="373120" cy="804447"/>
            </a:xfrm>
            <a:custGeom>
              <a:avLst/>
              <a:gdLst>
                <a:gd name="T0" fmla="*/ 0 w 500"/>
                <a:gd name="T1" fmla="*/ 0 h 1079"/>
                <a:gd name="T2" fmla="*/ 70 w 500"/>
                <a:gd name="T3" fmla="*/ 18 h 1079"/>
                <a:gd name="T4" fmla="*/ 134 w 500"/>
                <a:gd name="T5" fmla="*/ 41 h 1079"/>
                <a:gd name="T6" fmla="*/ 191 w 500"/>
                <a:gd name="T7" fmla="*/ 69 h 1079"/>
                <a:gd name="T8" fmla="*/ 241 w 500"/>
                <a:gd name="T9" fmla="*/ 101 h 1079"/>
                <a:gd name="T10" fmla="*/ 287 w 500"/>
                <a:gd name="T11" fmla="*/ 137 h 1079"/>
                <a:gd name="T12" fmla="*/ 328 w 500"/>
                <a:gd name="T13" fmla="*/ 178 h 1079"/>
                <a:gd name="T14" fmla="*/ 362 w 500"/>
                <a:gd name="T15" fmla="*/ 220 h 1079"/>
                <a:gd name="T16" fmla="*/ 393 w 500"/>
                <a:gd name="T17" fmla="*/ 266 h 1079"/>
                <a:gd name="T18" fmla="*/ 419 w 500"/>
                <a:gd name="T19" fmla="*/ 315 h 1079"/>
                <a:gd name="T20" fmla="*/ 440 w 500"/>
                <a:gd name="T21" fmla="*/ 364 h 1079"/>
                <a:gd name="T22" fmla="*/ 458 w 500"/>
                <a:gd name="T23" fmla="*/ 414 h 1079"/>
                <a:gd name="T24" fmla="*/ 471 w 500"/>
                <a:gd name="T25" fmla="*/ 466 h 1079"/>
                <a:gd name="T26" fmla="*/ 482 w 500"/>
                <a:gd name="T27" fmla="*/ 518 h 1079"/>
                <a:gd name="T28" fmla="*/ 490 w 500"/>
                <a:gd name="T29" fmla="*/ 570 h 1079"/>
                <a:gd name="T30" fmla="*/ 495 w 500"/>
                <a:gd name="T31" fmla="*/ 623 h 1079"/>
                <a:gd name="T32" fmla="*/ 499 w 500"/>
                <a:gd name="T33" fmla="*/ 673 h 1079"/>
                <a:gd name="T34" fmla="*/ 500 w 500"/>
                <a:gd name="T35" fmla="*/ 722 h 1079"/>
                <a:gd name="T36" fmla="*/ 499 w 500"/>
                <a:gd name="T37" fmla="*/ 771 h 1079"/>
                <a:gd name="T38" fmla="*/ 497 w 500"/>
                <a:gd name="T39" fmla="*/ 815 h 1079"/>
                <a:gd name="T40" fmla="*/ 494 w 500"/>
                <a:gd name="T41" fmla="*/ 857 h 1079"/>
                <a:gd name="T42" fmla="*/ 489 w 500"/>
                <a:gd name="T43" fmla="*/ 896 h 1079"/>
                <a:gd name="T44" fmla="*/ 486 w 500"/>
                <a:gd name="T45" fmla="*/ 932 h 1079"/>
                <a:gd name="T46" fmla="*/ 481 w 500"/>
                <a:gd name="T47" fmla="*/ 963 h 1079"/>
                <a:gd name="T48" fmla="*/ 476 w 500"/>
                <a:gd name="T49" fmla="*/ 989 h 1079"/>
                <a:gd name="T50" fmla="*/ 472 w 500"/>
                <a:gd name="T51" fmla="*/ 1010 h 1079"/>
                <a:gd name="T52" fmla="*/ 469 w 500"/>
                <a:gd name="T53" fmla="*/ 1027 h 1079"/>
                <a:gd name="T54" fmla="*/ 466 w 500"/>
                <a:gd name="T55" fmla="*/ 1037 h 1079"/>
                <a:gd name="T56" fmla="*/ 466 w 500"/>
                <a:gd name="T57" fmla="*/ 1040 h 1079"/>
                <a:gd name="T58" fmla="*/ 370 w 500"/>
                <a:gd name="T59" fmla="*/ 1056 h 1079"/>
                <a:gd name="T60" fmla="*/ 280 w 500"/>
                <a:gd name="T61" fmla="*/ 1069 h 1079"/>
                <a:gd name="T62" fmla="*/ 196 w 500"/>
                <a:gd name="T63" fmla="*/ 1076 h 1079"/>
                <a:gd name="T64" fmla="*/ 116 w 500"/>
                <a:gd name="T65" fmla="*/ 1079 h 1079"/>
                <a:gd name="T66" fmla="*/ 43 w 500"/>
                <a:gd name="T67" fmla="*/ 1077 h 1079"/>
                <a:gd name="T68" fmla="*/ 56 w 500"/>
                <a:gd name="T69" fmla="*/ 1045 h 1079"/>
                <a:gd name="T70" fmla="*/ 69 w 500"/>
                <a:gd name="T71" fmla="*/ 1007 h 1079"/>
                <a:gd name="T72" fmla="*/ 83 w 500"/>
                <a:gd name="T73" fmla="*/ 966 h 1079"/>
                <a:gd name="T74" fmla="*/ 98 w 500"/>
                <a:gd name="T75" fmla="*/ 919 h 1079"/>
                <a:gd name="T76" fmla="*/ 113 w 500"/>
                <a:gd name="T77" fmla="*/ 870 h 1079"/>
                <a:gd name="T78" fmla="*/ 127 w 500"/>
                <a:gd name="T79" fmla="*/ 818 h 1079"/>
                <a:gd name="T80" fmla="*/ 140 w 500"/>
                <a:gd name="T81" fmla="*/ 763 h 1079"/>
                <a:gd name="T82" fmla="*/ 152 w 500"/>
                <a:gd name="T83" fmla="*/ 706 h 1079"/>
                <a:gd name="T84" fmla="*/ 163 w 500"/>
                <a:gd name="T85" fmla="*/ 647 h 1079"/>
                <a:gd name="T86" fmla="*/ 171 w 500"/>
                <a:gd name="T87" fmla="*/ 587 h 1079"/>
                <a:gd name="T88" fmla="*/ 176 w 500"/>
                <a:gd name="T89" fmla="*/ 526 h 1079"/>
                <a:gd name="T90" fmla="*/ 180 w 500"/>
                <a:gd name="T91" fmla="*/ 466 h 1079"/>
                <a:gd name="T92" fmla="*/ 180 w 500"/>
                <a:gd name="T93" fmla="*/ 406 h 1079"/>
                <a:gd name="T94" fmla="*/ 175 w 500"/>
                <a:gd name="T95" fmla="*/ 347 h 1079"/>
                <a:gd name="T96" fmla="*/ 165 w 500"/>
                <a:gd name="T97" fmla="*/ 289 h 1079"/>
                <a:gd name="T98" fmla="*/ 152 w 500"/>
                <a:gd name="T99" fmla="*/ 233 h 1079"/>
                <a:gd name="T100" fmla="*/ 134 w 500"/>
                <a:gd name="T101" fmla="*/ 179 h 1079"/>
                <a:gd name="T102" fmla="*/ 110 w 500"/>
                <a:gd name="T103" fmla="*/ 129 h 1079"/>
                <a:gd name="T104" fmla="*/ 80 w 500"/>
                <a:gd name="T105" fmla="*/ 83 h 1079"/>
                <a:gd name="T106" fmla="*/ 43 w 500"/>
                <a:gd name="T107" fmla="*/ 39 h 1079"/>
                <a:gd name="T108" fmla="*/ 0 w 500"/>
                <a:gd name="T109" fmla="*/ 0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0" h="1079">
                  <a:moveTo>
                    <a:pt x="0" y="0"/>
                  </a:moveTo>
                  <a:lnTo>
                    <a:pt x="70" y="18"/>
                  </a:lnTo>
                  <a:lnTo>
                    <a:pt x="134" y="41"/>
                  </a:lnTo>
                  <a:lnTo>
                    <a:pt x="191" y="69"/>
                  </a:lnTo>
                  <a:lnTo>
                    <a:pt x="241" y="101"/>
                  </a:lnTo>
                  <a:lnTo>
                    <a:pt x="287" y="137"/>
                  </a:lnTo>
                  <a:lnTo>
                    <a:pt x="328" y="178"/>
                  </a:lnTo>
                  <a:lnTo>
                    <a:pt x="362" y="220"/>
                  </a:lnTo>
                  <a:lnTo>
                    <a:pt x="393" y="266"/>
                  </a:lnTo>
                  <a:lnTo>
                    <a:pt x="419" y="315"/>
                  </a:lnTo>
                  <a:lnTo>
                    <a:pt x="440" y="364"/>
                  </a:lnTo>
                  <a:lnTo>
                    <a:pt x="458" y="414"/>
                  </a:lnTo>
                  <a:lnTo>
                    <a:pt x="471" y="466"/>
                  </a:lnTo>
                  <a:lnTo>
                    <a:pt x="482" y="518"/>
                  </a:lnTo>
                  <a:lnTo>
                    <a:pt x="490" y="570"/>
                  </a:lnTo>
                  <a:lnTo>
                    <a:pt x="495" y="623"/>
                  </a:lnTo>
                  <a:lnTo>
                    <a:pt x="499" y="673"/>
                  </a:lnTo>
                  <a:lnTo>
                    <a:pt x="500" y="722"/>
                  </a:lnTo>
                  <a:lnTo>
                    <a:pt x="499" y="771"/>
                  </a:lnTo>
                  <a:lnTo>
                    <a:pt x="497" y="815"/>
                  </a:lnTo>
                  <a:lnTo>
                    <a:pt x="494" y="857"/>
                  </a:lnTo>
                  <a:lnTo>
                    <a:pt x="489" y="896"/>
                  </a:lnTo>
                  <a:lnTo>
                    <a:pt x="486" y="932"/>
                  </a:lnTo>
                  <a:lnTo>
                    <a:pt x="481" y="963"/>
                  </a:lnTo>
                  <a:lnTo>
                    <a:pt x="476" y="989"/>
                  </a:lnTo>
                  <a:lnTo>
                    <a:pt x="472" y="1010"/>
                  </a:lnTo>
                  <a:lnTo>
                    <a:pt x="469" y="1027"/>
                  </a:lnTo>
                  <a:lnTo>
                    <a:pt x="466" y="1037"/>
                  </a:lnTo>
                  <a:lnTo>
                    <a:pt x="466" y="1040"/>
                  </a:lnTo>
                  <a:lnTo>
                    <a:pt x="370" y="1056"/>
                  </a:lnTo>
                  <a:lnTo>
                    <a:pt x="280" y="1069"/>
                  </a:lnTo>
                  <a:lnTo>
                    <a:pt x="196" y="1076"/>
                  </a:lnTo>
                  <a:lnTo>
                    <a:pt x="116" y="1079"/>
                  </a:lnTo>
                  <a:lnTo>
                    <a:pt x="43" y="1077"/>
                  </a:lnTo>
                  <a:lnTo>
                    <a:pt x="56" y="1045"/>
                  </a:lnTo>
                  <a:lnTo>
                    <a:pt x="69" y="1007"/>
                  </a:lnTo>
                  <a:lnTo>
                    <a:pt x="83" y="966"/>
                  </a:lnTo>
                  <a:lnTo>
                    <a:pt x="98" y="919"/>
                  </a:lnTo>
                  <a:lnTo>
                    <a:pt x="113" y="870"/>
                  </a:lnTo>
                  <a:lnTo>
                    <a:pt x="127" y="818"/>
                  </a:lnTo>
                  <a:lnTo>
                    <a:pt x="140" y="763"/>
                  </a:lnTo>
                  <a:lnTo>
                    <a:pt x="152" y="706"/>
                  </a:lnTo>
                  <a:lnTo>
                    <a:pt x="163" y="647"/>
                  </a:lnTo>
                  <a:lnTo>
                    <a:pt x="171" y="587"/>
                  </a:lnTo>
                  <a:lnTo>
                    <a:pt x="176" y="526"/>
                  </a:lnTo>
                  <a:lnTo>
                    <a:pt x="180" y="466"/>
                  </a:lnTo>
                  <a:lnTo>
                    <a:pt x="180" y="406"/>
                  </a:lnTo>
                  <a:lnTo>
                    <a:pt x="175" y="347"/>
                  </a:lnTo>
                  <a:lnTo>
                    <a:pt x="165" y="289"/>
                  </a:lnTo>
                  <a:lnTo>
                    <a:pt x="152" y="233"/>
                  </a:lnTo>
                  <a:lnTo>
                    <a:pt x="134" y="179"/>
                  </a:lnTo>
                  <a:lnTo>
                    <a:pt x="110" y="129"/>
                  </a:lnTo>
                  <a:lnTo>
                    <a:pt x="80" y="83"/>
                  </a:lnTo>
                  <a:lnTo>
                    <a:pt x="43" y="39"/>
                  </a:lnTo>
                  <a:lnTo>
                    <a:pt x="0"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19" name="Group 4">
            <a:extLst>
              <a:ext uri="{FF2B5EF4-FFF2-40B4-BE49-F238E27FC236}">
                <a16:creationId xmlns:a16="http://schemas.microsoft.com/office/drawing/2014/main" id="{11FFE657-6811-4C06-8D5C-502BF17797FC}"/>
              </a:ext>
            </a:extLst>
          </p:cNvPr>
          <p:cNvGrpSpPr/>
          <p:nvPr/>
        </p:nvGrpSpPr>
        <p:grpSpPr>
          <a:xfrm>
            <a:off x="4758853" y="4084571"/>
            <a:ext cx="1405915" cy="1064138"/>
            <a:chOff x="4659249" y="3423807"/>
            <a:chExt cx="1405915" cy="1064138"/>
          </a:xfrm>
        </p:grpSpPr>
        <p:sp>
          <p:nvSpPr>
            <p:cNvPr id="20" name="Freeform 24">
              <a:extLst>
                <a:ext uri="{FF2B5EF4-FFF2-40B4-BE49-F238E27FC236}">
                  <a16:creationId xmlns:a16="http://schemas.microsoft.com/office/drawing/2014/main" id="{D12326DC-C064-4153-8A91-F122D5D03FF7}"/>
                </a:ext>
              </a:extLst>
            </p:cNvPr>
            <p:cNvSpPr>
              <a:spLocks/>
            </p:cNvSpPr>
            <p:nvPr/>
          </p:nvSpPr>
          <p:spPr bwMode="auto">
            <a:xfrm>
              <a:off x="4659249" y="3423807"/>
              <a:ext cx="1405915" cy="1064138"/>
            </a:xfrm>
            <a:custGeom>
              <a:avLst/>
              <a:gdLst>
                <a:gd name="T0" fmla="*/ 1050 w 1883"/>
                <a:gd name="T1" fmla="*/ 5 h 1426"/>
                <a:gd name="T2" fmla="*/ 1167 w 1883"/>
                <a:gd name="T3" fmla="*/ 28 h 1426"/>
                <a:gd name="T4" fmla="*/ 1274 w 1883"/>
                <a:gd name="T5" fmla="*/ 69 h 1426"/>
                <a:gd name="T6" fmla="*/ 1370 w 1883"/>
                <a:gd name="T7" fmla="*/ 124 h 1426"/>
                <a:gd name="T8" fmla="*/ 1458 w 1883"/>
                <a:gd name="T9" fmla="*/ 192 h 1426"/>
                <a:gd name="T10" fmla="*/ 1536 w 1883"/>
                <a:gd name="T11" fmla="*/ 269 h 1426"/>
                <a:gd name="T12" fmla="*/ 1605 w 1883"/>
                <a:gd name="T13" fmla="*/ 354 h 1426"/>
                <a:gd name="T14" fmla="*/ 1665 w 1883"/>
                <a:gd name="T15" fmla="*/ 442 h 1426"/>
                <a:gd name="T16" fmla="*/ 1717 w 1883"/>
                <a:gd name="T17" fmla="*/ 531 h 1426"/>
                <a:gd name="T18" fmla="*/ 1761 w 1883"/>
                <a:gd name="T19" fmla="*/ 619 h 1426"/>
                <a:gd name="T20" fmla="*/ 1797 w 1883"/>
                <a:gd name="T21" fmla="*/ 702 h 1426"/>
                <a:gd name="T22" fmla="*/ 1826 w 1883"/>
                <a:gd name="T23" fmla="*/ 779 h 1426"/>
                <a:gd name="T24" fmla="*/ 1851 w 1883"/>
                <a:gd name="T25" fmla="*/ 846 h 1426"/>
                <a:gd name="T26" fmla="*/ 1867 w 1883"/>
                <a:gd name="T27" fmla="*/ 900 h 1426"/>
                <a:gd name="T28" fmla="*/ 1877 w 1883"/>
                <a:gd name="T29" fmla="*/ 937 h 1426"/>
                <a:gd name="T30" fmla="*/ 1881 w 1883"/>
                <a:gd name="T31" fmla="*/ 958 h 1426"/>
                <a:gd name="T32" fmla="*/ 1789 w 1883"/>
                <a:gd name="T33" fmla="*/ 1046 h 1426"/>
                <a:gd name="T34" fmla="*/ 1610 w 1883"/>
                <a:gd name="T35" fmla="*/ 1186 h 1426"/>
                <a:gd name="T36" fmla="*/ 1442 w 1883"/>
                <a:gd name="T37" fmla="*/ 1291 h 1426"/>
                <a:gd name="T38" fmla="*/ 1284 w 1883"/>
                <a:gd name="T39" fmla="*/ 1364 h 1426"/>
                <a:gd name="T40" fmla="*/ 1136 w 1883"/>
                <a:gd name="T41" fmla="*/ 1408 h 1426"/>
                <a:gd name="T42" fmla="*/ 998 w 1883"/>
                <a:gd name="T43" fmla="*/ 1426 h 1426"/>
                <a:gd name="T44" fmla="*/ 869 w 1883"/>
                <a:gd name="T45" fmla="*/ 1420 h 1426"/>
                <a:gd name="T46" fmla="*/ 752 w 1883"/>
                <a:gd name="T47" fmla="*/ 1392 h 1426"/>
                <a:gd name="T48" fmla="*/ 643 w 1883"/>
                <a:gd name="T49" fmla="*/ 1348 h 1426"/>
                <a:gd name="T50" fmla="*/ 544 w 1883"/>
                <a:gd name="T51" fmla="*/ 1288 h 1426"/>
                <a:gd name="T52" fmla="*/ 452 w 1883"/>
                <a:gd name="T53" fmla="*/ 1217 h 1426"/>
                <a:gd name="T54" fmla="*/ 371 w 1883"/>
                <a:gd name="T55" fmla="*/ 1136 h 1426"/>
                <a:gd name="T56" fmla="*/ 298 w 1883"/>
                <a:gd name="T57" fmla="*/ 1050 h 1426"/>
                <a:gd name="T58" fmla="*/ 233 w 1883"/>
                <a:gd name="T59" fmla="*/ 960 h 1426"/>
                <a:gd name="T60" fmla="*/ 177 w 1883"/>
                <a:gd name="T61" fmla="*/ 870 h 1426"/>
                <a:gd name="T62" fmla="*/ 129 w 1883"/>
                <a:gd name="T63" fmla="*/ 782 h 1426"/>
                <a:gd name="T64" fmla="*/ 89 w 1883"/>
                <a:gd name="T65" fmla="*/ 701 h 1426"/>
                <a:gd name="T66" fmla="*/ 57 w 1883"/>
                <a:gd name="T67" fmla="*/ 628 h 1426"/>
                <a:gd name="T68" fmla="*/ 31 w 1883"/>
                <a:gd name="T69" fmla="*/ 566 h 1426"/>
                <a:gd name="T70" fmla="*/ 15 w 1883"/>
                <a:gd name="T71" fmla="*/ 517 h 1426"/>
                <a:gd name="T72" fmla="*/ 3 w 1883"/>
                <a:gd name="T73" fmla="*/ 486 h 1426"/>
                <a:gd name="T74" fmla="*/ 0 w 1883"/>
                <a:gd name="T75" fmla="*/ 476 h 1426"/>
                <a:gd name="T76" fmla="*/ 195 w 1883"/>
                <a:gd name="T77" fmla="*/ 316 h 1426"/>
                <a:gd name="T78" fmla="*/ 379 w 1883"/>
                <a:gd name="T79" fmla="*/ 192 h 1426"/>
                <a:gd name="T80" fmla="*/ 548 w 1883"/>
                <a:gd name="T81" fmla="*/ 103 h 1426"/>
                <a:gd name="T82" fmla="*/ 706 w 1883"/>
                <a:gd name="T83" fmla="*/ 43 h 1426"/>
                <a:gd name="T84" fmla="*/ 853 w 1883"/>
                <a:gd name="T85" fmla="*/ 8 h 1426"/>
                <a:gd name="T86" fmla="*/ 986 w 1883"/>
                <a:gd name="T87"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1426">
                  <a:moveTo>
                    <a:pt x="986" y="0"/>
                  </a:moveTo>
                  <a:lnTo>
                    <a:pt x="1050" y="5"/>
                  </a:lnTo>
                  <a:lnTo>
                    <a:pt x="1110" y="13"/>
                  </a:lnTo>
                  <a:lnTo>
                    <a:pt x="1167" y="28"/>
                  </a:lnTo>
                  <a:lnTo>
                    <a:pt x="1222" y="46"/>
                  </a:lnTo>
                  <a:lnTo>
                    <a:pt x="1274" y="69"/>
                  </a:lnTo>
                  <a:lnTo>
                    <a:pt x="1323" y="95"/>
                  </a:lnTo>
                  <a:lnTo>
                    <a:pt x="1370" y="124"/>
                  </a:lnTo>
                  <a:lnTo>
                    <a:pt x="1416" y="157"/>
                  </a:lnTo>
                  <a:lnTo>
                    <a:pt x="1458" y="192"/>
                  </a:lnTo>
                  <a:lnTo>
                    <a:pt x="1499" y="230"/>
                  </a:lnTo>
                  <a:lnTo>
                    <a:pt x="1536" y="269"/>
                  </a:lnTo>
                  <a:lnTo>
                    <a:pt x="1572" y="311"/>
                  </a:lnTo>
                  <a:lnTo>
                    <a:pt x="1605" y="354"/>
                  </a:lnTo>
                  <a:lnTo>
                    <a:pt x="1636" y="398"/>
                  </a:lnTo>
                  <a:lnTo>
                    <a:pt x="1665" y="442"/>
                  </a:lnTo>
                  <a:lnTo>
                    <a:pt x="1691" y="486"/>
                  </a:lnTo>
                  <a:lnTo>
                    <a:pt x="1717" y="531"/>
                  </a:lnTo>
                  <a:lnTo>
                    <a:pt x="1740" y="575"/>
                  </a:lnTo>
                  <a:lnTo>
                    <a:pt x="1761" y="619"/>
                  </a:lnTo>
                  <a:lnTo>
                    <a:pt x="1781" y="662"/>
                  </a:lnTo>
                  <a:lnTo>
                    <a:pt x="1797" y="702"/>
                  </a:lnTo>
                  <a:lnTo>
                    <a:pt x="1813" y="742"/>
                  </a:lnTo>
                  <a:lnTo>
                    <a:pt x="1826" y="779"/>
                  </a:lnTo>
                  <a:lnTo>
                    <a:pt x="1839" y="813"/>
                  </a:lnTo>
                  <a:lnTo>
                    <a:pt x="1851" y="846"/>
                  </a:lnTo>
                  <a:lnTo>
                    <a:pt x="1859" y="874"/>
                  </a:lnTo>
                  <a:lnTo>
                    <a:pt x="1867" y="900"/>
                  </a:lnTo>
                  <a:lnTo>
                    <a:pt x="1872" y="921"/>
                  </a:lnTo>
                  <a:lnTo>
                    <a:pt x="1877" y="937"/>
                  </a:lnTo>
                  <a:lnTo>
                    <a:pt x="1880" y="950"/>
                  </a:lnTo>
                  <a:lnTo>
                    <a:pt x="1881" y="958"/>
                  </a:lnTo>
                  <a:lnTo>
                    <a:pt x="1883" y="962"/>
                  </a:lnTo>
                  <a:lnTo>
                    <a:pt x="1789" y="1046"/>
                  </a:lnTo>
                  <a:lnTo>
                    <a:pt x="1698" y="1120"/>
                  </a:lnTo>
                  <a:lnTo>
                    <a:pt x="1610" y="1186"/>
                  </a:lnTo>
                  <a:lnTo>
                    <a:pt x="1525" y="1244"/>
                  </a:lnTo>
                  <a:lnTo>
                    <a:pt x="1442" y="1291"/>
                  </a:lnTo>
                  <a:lnTo>
                    <a:pt x="1361" y="1332"/>
                  </a:lnTo>
                  <a:lnTo>
                    <a:pt x="1284" y="1364"/>
                  </a:lnTo>
                  <a:lnTo>
                    <a:pt x="1208" y="1390"/>
                  </a:lnTo>
                  <a:lnTo>
                    <a:pt x="1136" y="1408"/>
                  </a:lnTo>
                  <a:lnTo>
                    <a:pt x="1066" y="1420"/>
                  </a:lnTo>
                  <a:lnTo>
                    <a:pt x="998" y="1426"/>
                  </a:lnTo>
                  <a:lnTo>
                    <a:pt x="933" y="1424"/>
                  </a:lnTo>
                  <a:lnTo>
                    <a:pt x="869" y="1420"/>
                  </a:lnTo>
                  <a:lnTo>
                    <a:pt x="809" y="1408"/>
                  </a:lnTo>
                  <a:lnTo>
                    <a:pt x="752" y="1392"/>
                  </a:lnTo>
                  <a:lnTo>
                    <a:pt x="697" y="1372"/>
                  </a:lnTo>
                  <a:lnTo>
                    <a:pt x="643" y="1348"/>
                  </a:lnTo>
                  <a:lnTo>
                    <a:pt x="591" y="1320"/>
                  </a:lnTo>
                  <a:lnTo>
                    <a:pt x="544" y="1288"/>
                  </a:lnTo>
                  <a:lnTo>
                    <a:pt x="496" y="1253"/>
                  </a:lnTo>
                  <a:lnTo>
                    <a:pt x="452" y="1217"/>
                  </a:lnTo>
                  <a:lnTo>
                    <a:pt x="410" y="1178"/>
                  </a:lnTo>
                  <a:lnTo>
                    <a:pt x="371" y="1136"/>
                  </a:lnTo>
                  <a:lnTo>
                    <a:pt x="334" y="1094"/>
                  </a:lnTo>
                  <a:lnTo>
                    <a:pt x="298" y="1050"/>
                  </a:lnTo>
                  <a:lnTo>
                    <a:pt x="264" y="1006"/>
                  </a:lnTo>
                  <a:lnTo>
                    <a:pt x="233" y="960"/>
                  </a:lnTo>
                  <a:lnTo>
                    <a:pt x="203" y="916"/>
                  </a:lnTo>
                  <a:lnTo>
                    <a:pt x="177" y="870"/>
                  </a:lnTo>
                  <a:lnTo>
                    <a:pt x="151" y="826"/>
                  </a:lnTo>
                  <a:lnTo>
                    <a:pt x="129" y="782"/>
                  </a:lnTo>
                  <a:lnTo>
                    <a:pt x="107" y="742"/>
                  </a:lnTo>
                  <a:lnTo>
                    <a:pt x="89" y="701"/>
                  </a:lnTo>
                  <a:lnTo>
                    <a:pt x="72" y="663"/>
                  </a:lnTo>
                  <a:lnTo>
                    <a:pt x="57" y="628"/>
                  </a:lnTo>
                  <a:lnTo>
                    <a:pt x="42" y="595"/>
                  </a:lnTo>
                  <a:lnTo>
                    <a:pt x="31" y="566"/>
                  </a:lnTo>
                  <a:lnTo>
                    <a:pt x="21" y="540"/>
                  </a:lnTo>
                  <a:lnTo>
                    <a:pt x="15" y="517"/>
                  </a:lnTo>
                  <a:lnTo>
                    <a:pt x="8" y="499"/>
                  </a:lnTo>
                  <a:lnTo>
                    <a:pt x="3" y="486"/>
                  </a:lnTo>
                  <a:lnTo>
                    <a:pt x="2" y="478"/>
                  </a:lnTo>
                  <a:lnTo>
                    <a:pt x="0" y="476"/>
                  </a:lnTo>
                  <a:lnTo>
                    <a:pt x="99" y="391"/>
                  </a:lnTo>
                  <a:lnTo>
                    <a:pt x="195" y="316"/>
                  </a:lnTo>
                  <a:lnTo>
                    <a:pt x="290" y="251"/>
                  </a:lnTo>
                  <a:lnTo>
                    <a:pt x="379" y="192"/>
                  </a:lnTo>
                  <a:lnTo>
                    <a:pt x="465" y="144"/>
                  </a:lnTo>
                  <a:lnTo>
                    <a:pt x="548" y="103"/>
                  </a:lnTo>
                  <a:lnTo>
                    <a:pt x="630" y="69"/>
                  </a:lnTo>
                  <a:lnTo>
                    <a:pt x="706" y="43"/>
                  </a:lnTo>
                  <a:lnTo>
                    <a:pt x="781" y="21"/>
                  </a:lnTo>
                  <a:lnTo>
                    <a:pt x="853" y="8"/>
                  </a:lnTo>
                  <a:lnTo>
                    <a:pt x="921" y="2"/>
                  </a:lnTo>
                  <a:lnTo>
                    <a:pt x="986"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1" name="Freeform 31">
              <a:extLst>
                <a:ext uri="{FF2B5EF4-FFF2-40B4-BE49-F238E27FC236}">
                  <a16:creationId xmlns:a16="http://schemas.microsoft.com/office/drawing/2014/main" id="{DCCE5309-5AFC-4D11-BA0F-EEF6EF8A89EE}"/>
                </a:ext>
              </a:extLst>
            </p:cNvPr>
            <p:cNvSpPr>
              <a:spLocks/>
            </p:cNvSpPr>
            <p:nvPr/>
          </p:nvSpPr>
          <p:spPr bwMode="auto">
            <a:xfrm>
              <a:off x="4659249" y="3553652"/>
              <a:ext cx="1046227" cy="932800"/>
            </a:xfrm>
            <a:custGeom>
              <a:avLst/>
              <a:gdLst>
                <a:gd name="T0" fmla="*/ 410 w 1401"/>
                <a:gd name="T1" fmla="*/ 0 h 1249"/>
                <a:gd name="T2" fmla="*/ 418 w 1401"/>
                <a:gd name="T3" fmla="*/ 32 h 1249"/>
                <a:gd name="T4" fmla="*/ 430 w 1401"/>
                <a:gd name="T5" fmla="*/ 71 h 1249"/>
                <a:gd name="T6" fmla="*/ 446 w 1401"/>
                <a:gd name="T7" fmla="*/ 115 h 1249"/>
                <a:gd name="T8" fmla="*/ 465 w 1401"/>
                <a:gd name="T9" fmla="*/ 164 h 1249"/>
                <a:gd name="T10" fmla="*/ 488 w 1401"/>
                <a:gd name="T11" fmla="*/ 218 h 1249"/>
                <a:gd name="T12" fmla="*/ 514 w 1401"/>
                <a:gd name="T13" fmla="*/ 277 h 1249"/>
                <a:gd name="T14" fmla="*/ 547 w 1401"/>
                <a:gd name="T15" fmla="*/ 338 h 1249"/>
                <a:gd name="T16" fmla="*/ 583 w 1401"/>
                <a:gd name="T17" fmla="*/ 404 h 1249"/>
                <a:gd name="T18" fmla="*/ 625 w 1401"/>
                <a:gd name="T19" fmla="*/ 470 h 1249"/>
                <a:gd name="T20" fmla="*/ 672 w 1401"/>
                <a:gd name="T21" fmla="*/ 539 h 1249"/>
                <a:gd name="T22" fmla="*/ 726 w 1401"/>
                <a:gd name="T23" fmla="*/ 609 h 1249"/>
                <a:gd name="T24" fmla="*/ 786 w 1401"/>
                <a:gd name="T25" fmla="*/ 679 h 1249"/>
                <a:gd name="T26" fmla="*/ 851 w 1401"/>
                <a:gd name="T27" fmla="*/ 749 h 1249"/>
                <a:gd name="T28" fmla="*/ 924 w 1401"/>
                <a:gd name="T29" fmla="*/ 819 h 1249"/>
                <a:gd name="T30" fmla="*/ 1004 w 1401"/>
                <a:gd name="T31" fmla="*/ 888 h 1249"/>
                <a:gd name="T32" fmla="*/ 1092 w 1401"/>
                <a:gd name="T33" fmla="*/ 954 h 1249"/>
                <a:gd name="T34" fmla="*/ 1186 w 1401"/>
                <a:gd name="T35" fmla="*/ 1018 h 1249"/>
                <a:gd name="T36" fmla="*/ 1291 w 1401"/>
                <a:gd name="T37" fmla="*/ 1080 h 1249"/>
                <a:gd name="T38" fmla="*/ 1401 w 1401"/>
                <a:gd name="T39" fmla="*/ 1137 h 1249"/>
                <a:gd name="T40" fmla="*/ 1315 w 1401"/>
                <a:gd name="T41" fmla="*/ 1176 h 1249"/>
                <a:gd name="T42" fmla="*/ 1230 w 1401"/>
                <a:gd name="T43" fmla="*/ 1207 h 1249"/>
                <a:gd name="T44" fmla="*/ 1151 w 1401"/>
                <a:gd name="T45" fmla="*/ 1230 h 1249"/>
                <a:gd name="T46" fmla="*/ 1073 w 1401"/>
                <a:gd name="T47" fmla="*/ 1245 h 1249"/>
                <a:gd name="T48" fmla="*/ 998 w 1401"/>
                <a:gd name="T49" fmla="*/ 1249 h 1249"/>
                <a:gd name="T50" fmla="*/ 926 w 1401"/>
                <a:gd name="T51" fmla="*/ 1249 h 1249"/>
                <a:gd name="T52" fmla="*/ 856 w 1401"/>
                <a:gd name="T53" fmla="*/ 1241 h 1249"/>
                <a:gd name="T54" fmla="*/ 791 w 1401"/>
                <a:gd name="T55" fmla="*/ 1228 h 1249"/>
                <a:gd name="T56" fmla="*/ 727 w 1401"/>
                <a:gd name="T57" fmla="*/ 1209 h 1249"/>
                <a:gd name="T58" fmla="*/ 667 w 1401"/>
                <a:gd name="T59" fmla="*/ 1184 h 1249"/>
                <a:gd name="T60" fmla="*/ 610 w 1401"/>
                <a:gd name="T61" fmla="*/ 1155 h 1249"/>
                <a:gd name="T62" fmla="*/ 557 w 1401"/>
                <a:gd name="T63" fmla="*/ 1122 h 1249"/>
                <a:gd name="T64" fmla="*/ 504 w 1401"/>
                <a:gd name="T65" fmla="*/ 1085 h 1249"/>
                <a:gd name="T66" fmla="*/ 456 w 1401"/>
                <a:gd name="T67" fmla="*/ 1044 h 1249"/>
                <a:gd name="T68" fmla="*/ 408 w 1401"/>
                <a:gd name="T69" fmla="*/ 1002 h 1249"/>
                <a:gd name="T70" fmla="*/ 365 w 1401"/>
                <a:gd name="T71" fmla="*/ 956 h 1249"/>
                <a:gd name="T72" fmla="*/ 324 w 1401"/>
                <a:gd name="T73" fmla="*/ 909 h 1249"/>
                <a:gd name="T74" fmla="*/ 286 w 1401"/>
                <a:gd name="T75" fmla="*/ 860 h 1249"/>
                <a:gd name="T76" fmla="*/ 251 w 1401"/>
                <a:gd name="T77" fmla="*/ 809 h 1249"/>
                <a:gd name="T78" fmla="*/ 216 w 1401"/>
                <a:gd name="T79" fmla="*/ 761 h 1249"/>
                <a:gd name="T80" fmla="*/ 185 w 1401"/>
                <a:gd name="T81" fmla="*/ 710 h 1249"/>
                <a:gd name="T82" fmla="*/ 158 w 1401"/>
                <a:gd name="T83" fmla="*/ 661 h 1249"/>
                <a:gd name="T84" fmla="*/ 132 w 1401"/>
                <a:gd name="T85" fmla="*/ 614 h 1249"/>
                <a:gd name="T86" fmla="*/ 109 w 1401"/>
                <a:gd name="T87" fmla="*/ 568 h 1249"/>
                <a:gd name="T88" fmla="*/ 88 w 1401"/>
                <a:gd name="T89" fmla="*/ 523 h 1249"/>
                <a:gd name="T90" fmla="*/ 68 w 1401"/>
                <a:gd name="T91" fmla="*/ 482 h 1249"/>
                <a:gd name="T92" fmla="*/ 52 w 1401"/>
                <a:gd name="T93" fmla="*/ 443 h 1249"/>
                <a:gd name="T94" fmla="*/ 39 w 1401"/>
                <a:gd name="T95" fmla="*/ 409 h 1249"/>
                <a:gd name="T96" fmla="*/ 26 w 1401"/>
                <a:gd name="T97" fmla="*/ 378 h 1249"/>
                <a:gd name="T98" fmla="*/ 16 w 1401"/>
                <a:gd name="T99" fmla="*/ 352 h 1249"/>
                <a:gd name="T100" fmla="*/ 10 w 1401"/>
                <a:gd name="T101" fmla="*/ 329 h 1249"/>
                <a:gd name="T102" fmla="*/ 5 w 1401"/>
                <a:gd name="T103" fmla="*/ 314 h 1249"/>
                <a:gd name="T104" fmla="*/ 2 w 1401"/>
                <a:gd name="T105" fmla="*/ 304 h 1249"/>
                <a:gd name="T106" fmla="*/ 0 w 1401"/>
                <a:gd name="T107" fmla="*/ 301 h 1249"/>
                <a:gd name="T108" fmla="*/ 86 w 1401"/>
                <a:gd name="T109" fmla="*/ 226 h 1249"/>
                <a:gd name="T110" fmla="*/ 171 w 1401"/>
                <a:gd name="T111" fmla="*/ 159 h 1249"/>
                <a:gd name="T112" fmla="*/ 254 w 1401"/>
                <a:gd name="T113" fmla="*/ 101 h 1249"/>
                <a:gd name="T114" fmla="*/ 332 w 1401"/>
                <a:gd name="T115" fmla="*/ 47 h 1249"/>
                <a:gd name="T116" fmla="*/ 410 w 1401"/>
                <a:gd name="T117" fmla="*/ 0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1" h="1249">
                  <a:moveTo>
                    <a:pt x="410" y="0"/>
                  </a:moveTo>
                  <a:lnTo>
                    <a:pt x="418" y="32"/>
                  </a:lnTo>
                  <a:lnTo>
                    <a:pt x="430" y="71"/>
                  </a:lnTo>
                  <a:lnTo>
                    <a:pt x="446" y="115"/>
                  </a:lnTo>
                  <a:lnTo>
                    <a:pt x="465" y="164"/>
                  </a:lnTo>
                  <a:lnTo>
                    <a:pt x="488" y="218"/>
                  </a:lnTo>
                  <a:lnTo>
                    <a:pt x="514" y="277"/>
                  </a:lnTo>
                  <a:lnTo>
                    <a:pt x="547" y="338"/>
                  </a:lnTo>
                  <a:lnTo>
                    <a:pt x="583" y="404"/>
                  </a:lnTo>
                  <a:lnTo>
                    <a:pt x="625" y="470"/>
                  </a:lnTo>
                  <a:lnTo>
                    <a:pt x="672" y="539"/>
                  </a:lnTo>
                  <a:lnTo>
                    <a:pt x="726" y="609"/>
                  </a:lnTo>
                  <a:lnTo>
                    <a:pt x="786" y="679"/>
                  </a:lnTo>
                  <a:lnTo>
                    <a:pt x="851" y="749"/>
                  </a:lnTo>
                  <a:lnTo>
                    <a:pt x="924" y="819"/>
                  </a:lnTo>
                  <a:lnTo>
                    <a:pt x="1004" y="888"/>
                  </a:lnTo>
                  <a:lnTo>
                    <a:pt x="1092" y="954"/>
                  </a:lnTo>
                  <a:lnTo>
                    <a:pt x="1186" y="1018"/>
                  </a:lnTo>
                  <a:lnTo>
                    <a:pt x="1291" y="1080"/>
                  </a:lnTo>
                  <a:lnTo>
                    <a:pt x="1401" y="1137"/>
                  </a:lnTo>
                  <a:lnTo>
                    <a:pt x="1315" y="1176"/>
                  </a:lnTo>
                  <a:lnTo>
                    <a:pt x="1230" y="1207"/>
                  </a:lnTo>
                  <a:lnTo>
                    <a:pt x="1151" y="1230"/>
                  </a:lnTo>
                  <a:lnTo>
                    <a:pt x="1073" y="1245"/>
                  </a:lnTo>
                  <a:lnTo>
                    <a:pt x="998" y="1249"/>
                  </a:lnTo>
                  <a:lnTo>
                    <a:pt x="926" y="1249"/>
                  </a:lnTo>
                  <a:lnTo>
                    <a:pt x="856" y="1241"/>
                  </a:lnTo>
                  <a:lnTo>
                    <a:pt x="791" y="1228"/>
                  </a:lnTo>
                  <a:lnTo>
                    <a:pt x="727" y="1209"/>
                  </a:lnTo>
                  <a:lnTo>
                    <a:pt x="667" y="1184"/>
                  </a:lnTo>
                  <a:lnTo>
                    <a:pt x="610" y="1155"/>
                  </a:lnTo>
                  <a:lnTo>
                    <a:pt x="557" y="1122"/>
                  </a:lnTo>
                  <a:lnTo>
                    <a:pt x="504" y="1085"/>
                  </a:lnTo>
                  <a:lnTo>
                    <a:pt x="456" y="1044"/>
                  </a:lnTo>
                  <a:lnTo>
                    <a:pt x="408" y="1002"/>
                  </a:lnTo>
                  <a:lnTo>
                    <a:pt x="365" y="956"/>
                  </a:lnTo>
                  <a:lnTo>
                    <a:pt x="324" y="909"/>
                  </a:lnTo>
                  <a:lnTo>
                    <a:pt x="286" y="860"/>
                  </a:lnTo>
                  <a:lnTo>
                    <a:pt x="251" y="809"/>
                  </a:lnTo>
                  <a:lnTo>
                    <a:pt x="216" y="761"/>
                  </a:lnTo>
                  <a:lnTo>
                    <a:pt x="185" y="710"/>
                  </a:lnTo>
                  <a:lnTo>
                    <a:pt x="158" y="661"/>
                  </a:lnTo>
                  <a:lnTo>
                    <a:pt x="132" y="614"/>
                  </a:lnTo>
                  <a:lnTo>
                    <a:pt x="109" y="568"/>
                  </a:lnTo>
                  <a:lnTo>
                    <a:pt x="88" y="523"/>
                  </a:lnTo>
                  <a:lnTo>
                    <a:pt x="68" y="482"/>
                  </a:lnTo>
                  <a:lnTo>
                    <a:pt x="52" y="443"/>
                  </a:lnTo>
                  <a:lnTo>
                    <a:pt x="39" y="409"/>
                  </a:lnTo>
                  <a:lnTo>
                    <a:pt x="26" y="378"/>
                  </a:lnTo>
                  <a:lnTo>
                    <a:pt x="16" y="352"/>
                  </a:lnTo>
                  <a:lnTo>
                    <a:pt x="10" y="329"/>
                  </a:lnTo>
                  <a:lnTo>
                    <a:pt x="5" y="314"/>
                  </a:lnTo>
                  <a:lnTo>
                    <a:pt x="2" y="304"/>
                  </a:lnTo>
                  <a:lnTo>
                    <a:pt x="0" y="301"/>
                  </a:lnTo>
                  <a:lnTo>
                    <a:pt x="86" y="226"/>
                  </a:lnTo>
                  <a:lnTo>
                    <a:pt x="171" y="159"/>
                  </a:lnTo>
                  <a:lnTo>
                    <a:pt x="254" y="101"/>
                  </a:lnTo>
                  <a:lnTo>
                    <a:pt x="332" y="47"/>
                  </a:lnTo>
                  <a:lnTo>
                    <a:pt x="410"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nvGrpSpPr>
          <p:cNvPr id="22" name="Group 18">
            <a:extLst>
              <a:ext uri="{FF2B5EF4-FFF2-40B4-BE49-F238E27FC236}">
                <a16:creationId xmlns:a16="http://schemas.microsoft.com/office/drawing/2014/main" id="{05D87E65-3C70-478C-87A2-9ABAF273EFA5}"/>
              </a:ext>
            </a:extLst>
          </p:cNvPr>
          <p:cNvGrpSpPr/>
          <p:nvPr/>
        </p:nvGrpSpPr>
        <p:grpSpPr>
          <a:xfrm>
            <a:off x="4809597" y="2895065"/>
            <a:ext cx="1298456" cy="1002946"/>
            <a:chOff x="4709993" y="2234301"/>
            <a:chExt cx="1298456" cy="1002946"/>
          </a:xfrm>
        </p:grpSpPr>
        <p:sp>
          <p:nvSpPr>
            <p:cNvPr id="23" name="Freeform 25">
              <a:extLst>
                <a:ext uri="{FF2B5EF4-FFF2-40B4-BE49-F238E27FC236}">
                  <a16:creationId xmlns:a16="http://schemas.microsoft.com/office/drawing/2014/main" id="{B0616B6C-4A36-404F-97C0-ECAFB55438E1}"/>
                </a:ext>
              </a:extLst>
            </p:cNvPr>
            <p:cNvSpPr>
              <a:spLocks/>
            </p:cNvSpPr>
            <p:nvPr/>
          </p:nvSpPr>
          <p:spPr bwMode="auto">
            <a:xfrm>
              <a:off x="4709993" y="2234301"/>
              <a:ext cx="1298456" cy="1002946"/>
            </a:xfrm>
            <a:custGeom>
              <a:avLst/>
              <a:gdLst>
                <a:gd name="T0" fmla="*/ 957 w 1740"/>
                <a:gd name="T1" fmla="*/ 2 h 1345"/>
                <a:gd name="T2" fmla="*/ 1065 w 1740"/>
                <a:gd name="T3" fmla="*/ 20 h 1345"/>
                <a:gd name="T4" fmla="*/ 1167 w 1740"/>
                <a:gd name="T5" fmla="*/ 48 h 1345"/>
                <a:gd name="T6" fmla="*/ 1267 w 1740"/>
                <a:gd name="T7" fmla="*/ 87 h 1345"/>
                <a:gd name="T8" fmla="*/ 1361 w 1740"/>
                <a:gd name="T9" fmla="*/ 131 h 1345"/>
                <a:gd name="T10" fmla="*/ 1446 w 1740"/>
                <a:gd name="T11" fmla="*/ 180 h 1345"/>
                <a:gd name="T12" fmla="*/ 1524 w 1740"/>
                <a:gd name="T13" fmla="*/ 230 h 1345"/>
                <a:gd name="T14" fmla="*/ 1591 w 1740"/>
                <a:gd name="T15" fmla="*/ 279 h 1345"/>
                <a:gd name="T16" fmla="*/ 1647 w 1740"/>
                <a:gd name="T17" fmla="*/ 323 h 1345"/>
                <a:gd name="T18" fmla="*/ 1691 w 1740"/>
                <a:gd name="T19" fmla="*/ 361 h 1345"/>
                <a:gd name="T20" fmla="*/ 1722 w 1740"/>
                <a:gd name="T21" fmla="*/ 387 h 1345"/>
                <a:gd name="T22" fmla="*/ 1739 w 1740"/>
                <a:gd name="T23" fmla="*/ 403 h 1345"/>
                <a:gd name="T24" fmla="*/ 1708 w 1740"/>
                <a:gd name="T25" fmla="*/ 524 h 1345"/>
                <a:gd name="T26" fmla="*/ 1633 w 1740"/>
                <a:gd name="T27" fmla="*/ 732 h 1345"/>
                <a:gd name="T28" fmla="*/ 1548 w 1740"/>
                <a:gd name="T29" fmla="*/ 905 h 1345"/>
                <a:gd name="T30" fmla="*/ 1455 w 1740"/>
                <a:gd name="T31" fmla="*/ 1045 h 1345"/>
                <a:gd name="T32" fmla="*/ 1356 w 1740"/>
                <a:gd name="T33" fmla="*/ 1156 h 1345"/>
                <a:gd name="T34" fmla="*/ 1250 w 1740"/>
                <a:gd name="T35" fmla="*/ 1237 h 1345"/>
                <a:gd name="T36" fmla="*/ 1141 w 1740"/>
                <a:gd name="T37" fmla="*/ 1294 h 1345"/>
                <a:gd name="T38" fmla="*/ 1029 w 1740"/>
                <a:gd name="T39" fmla="*/ 1329 h 1345"/>
                <a:gd name="T40" fmla="*/ 915 w 1740"/>
                <a:gd name="T41" fmla="*/ 1343 h 1345"/>
                <a:gd name="T42" fmla="*/ 803 w 1740"/>
                <a:gd name="T43" fmla="*/ 1342 h 1345"/>
                <a:gd name="T44" fmla="*/ 690 w 1740"/>
                <a:gd name="T45" fmla="*/ 1325 h 1345"/>
                <a:gd name="T46" fmla="*/ 583 w 1740"/>
                <a:gd name="T47" fmla="*/ 1299 h 1345"/>
                <a:gd name="T48" fmla="*/ 479 w 1740"/>
                <a:gd name="T49" fmla="*/ 1262 h 1345"/>
                <a:gd name="T50" fmla="*/ 367 w 1740"/>
                <a:gd name="T51" fmla="*/ 1211 h 1345"/>
                <a:gd name="T52" fmla="*/ 264 w 1740"/>
                <a:gd name="T53" fmla="*/ 1157 h 1345"/>
                <a:gd name="T54" fmla="*/ 176 w 1740"/>
                <a:gd name="T55" fmla="*/ 1104 h 1345"/>
                <a:gd name="T56" fmla="*/ 103 w 1740"/>
                <a:gd name="T57" fmla="*/ 1053 h 1345"/>
                <a:gd name="T58" fmla="*/ 47 w 1740"/>
                <a:gd name="T59" fmla="*/ 1012 h 1345"/>
                <a:gd name="T60" fmla="*/ 12 w 1740"/>
                <a:gd name="T61" fmla="*/ 985 h 1345"/>
                <a:gd name="T62" fmla="*/ 0 w 1740"/>
                <a:gd name="T63" fmla="*/ 975 h 1345"/>
                <a:gd name="T64" fmla="*/ 78 w 1740"/>
                <a:gd name="T65" fmla="*/ 740 h 1345"/>
                <a:gd name="T66" fmla="*/ 165 w 1740"/>
                <a:gd name="T67" fmla="*/ 543 h 1345"/>
                <a:gd name="T68" fmla="*/ 259 w 1740"/>
                <a:gd name="T69" fmla="*/ 380 h 1345"/>
                <a:gd name="T70" fmla="*/ 360 w 1740"/>
                <a:gd name="T71" fmla="*/ 251 h 1345"/>
                <a:gd name="T72" fmla="*/ 464 w 1740"/>
                <a:gd name="T73" fmla="*/ 152 h 1345"/>
                <a:gd name="T74" fmla="*/ 572 w 1740"/>
                <a:gd name="T75" fmla="*/ 80 h 1345"/>
                <a:gd name="T76" fmla="*/ 681 w 1740"/>
                <a:gd name="T77" fmla="*/ 33 h 1345"/>
                <a:gd name="T78" fmla="*/ 791 w 1740"/>
                <a:gd name="T79" fmla="*/ 7 h 1345"/>
                <a:gd name="T80" fmla="*/ 902 w 1740"/>
                <a:gd name="T81" fmla="*/ 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40" h="1345">
                  <a:moveTo>
                    <a:pt x="902" y="0"/>
                  </a:moveTo>
                  <a:lnTo>
                    <a:pt x="957" y="2"/>
                  </a:lnTo>
                  <a:lnTo>
                    <a:pt x="1011" y="9"/>
                  </a:lnTo>
                  <a:lnTo>
                    <a:pt x="1065" y="20"/>
                  </a:lnTo>
                  <a:lnTo>
                    <a:pt x="1117" y="33"/>
                  </a:lnTo>
                  <a:lnTo>
                    <a:pt x="1167" y="48"/>
                  </a:lnTo>
                  <a:lnTo>
                    <a:pt x="1218" y="66"/>
                  </a:lnTo>
                  <a:lnTo>
                    <a:pt x="1267" y="87"/>
                  </a:lnTo>
                  <a:lnTo>
                    <a:pt x="1314" y="108"/>
                  </a:lnTo>
                  <a:lnTo>
                    <a:pt x="1361" y="131"/>
                  </a:lnTo>
                  <a:lnTo>
                    <a:pt x="1403" y="155"/>
                  </a:lnTo>
                  <a:lnTo>
                    <a:pt x="1446" y="180"/>
                  </a:lnTo>
                  <a:lnTo>
                    <a:pt x="1486" y="204"/>
                  </a:lnTo>
                  <a:lnTo>
                    <a:pt x="1524" y="230"/>
                  </a:lnTo>
                  <a:lnTo>
                    <a:pt x="1558" y="255"/>
                  </a:lnTo>
                  <a:lnTo>
                    <a:pt x="1591" y="279"/>
                  </a:lnTo>
                  <a:lnTo>
                    <a:pt x="1620" y="302"/>
                  </a:lnTo>
                  <a:lnTo>
                    <a:pt x="1647" y="323"/>
                  </a:lnTo>
                  <a:lnTo>
                    <a:pt x="1670" y="343"/>
                  </a:lnTo>
                  <a:lnTo>
                    <a:pt x="1691" y="361"/>
                  </a:lnTo>
                  <a:lnTo>
                    <a:pt x="1709" y="375"/>
                  </a:lnTo>
                  <a:lnTo>
                    <a:pt x="1722" y="387"/>
                  </a:lnTo>
                  <a:lnTo>
                    <a:pt x="1732" y="396"/>
                  </a:lnTo>
                  <a:lnTo>
                    <a:pt x="1739" y="403"/>
                  </a:lnTo>
                  <a:lnTo>
                    <a:pt x="1740" y="405"/>
                  </a:lnTo>
                  <a:lnTo>
                    <a:pt x="1708" y="524"/>
                  </a:lnTo>
                  <a:lnTo>
                    <a:pt x="1672" y="633"/>
                  </a:lnTo>
                  <a:lnTo>
                    <a:pt x="1633" y="732"/>
                  </a:lnTo>
                  <a:lnTo>
                    <a:pt x="1592" y="823"/>
                  </a:lnTo>
                  <a:lnTo>
                    <a:pt x="1548" y="905"/>
                  </a:lnTo>
                  <a:lnTo>
                    <a:pt x="1504" y="980"/>
                  </a:lnTo>
                  <a:lnTo>
                    <a:pt x="1455" y="1045"/>
                  </a:lnTo>
                  <a:lnTo>
                    <a:pt x="1407" y="1104"/>
                  </a:lnTo>
                  <a:lnTo>
                    <a:pt x="1356" y="1156"/>
                  </a:lnTo>
                  <a:lnTo>
                    <a:pt x="1304" y="1200"/>
                  </a:lnTo>
                  <a:lnTo>
                    <a:pt x="1250" y="1237"/>
                  </a:lnTo>
                  <a:lnTo>
                    <a:pt x="1197" y="1268"/>
                  </a:lnTo>
                  <a:lnTo>
                    <a:pt x="1141" y="1294"/>
                  </a:lnTo>
                  <a:lnTo>
                    <a:pt x="1084" y="1314"/>
                  </a:lnTo>
                  <a:lnTo>
                    <a:pt x="1029" y="1329"/>
                  </a:lnTo>
                  <a:lnTo>
                    <a:pt x="972" y="1338"/>
                  </a:lnTo>
                  <a:lnTo>
                    <a:pt x="915" y="1343"/>
                  </a:lnTo>
                  <a:lnTo>
                    <a:pt x="858" y="1345"/>
                  </a:lnTo>
                  <a:lnTo>
                    <a:pt x="803" y="1342"/>
                  </a:lnTo>
                  <a:lnTo>
                    <a:pt x="746" y="1335"/>
                  </a:lnTo>
                  <a:lnTo>
                    <a:pt x="690" y="1325"/>
                  </a:lnTo>
                  <a:lnTo>
                    <a:pt x="637" y="1314"/>
                  </a:lnTo>
                  <a:lnTo>
                    <a:pt x="583" y="1299"/>
                  </a:lnTo>
                  <a:lnTo>
                    <a:pt x="529" y="1281"/>
                  </a:lnTo>
                  <a:lnTo>
                    <a:pt x="479" y="1262"/>
                  </a:lnTo>
                  <a:lnTo>
                    <a:pt x="422" y="1237"/>
                  </a:lnTo>
                  <a:lnTo>
                    <a:pt x="367" y="1211"/>
                  </a:lnTo>
                  <a:lnTo>
                    <a:pt x="313" y="1185"/>
                  </a:lnTo>
                  <a:lnTo>
                    <a:pt x="264" y="1157"/>
                  </a:lnTo>
                  <a:lnTo>
                    <a:pt x="218" y="1130"/>
                  </a:lnTo>
                  <a:lnTo>
                    <a:pt x="176" y="1104"/>
                  </a:lnTo>
                  <a:lnTo>
                    <a:pt x="137" y="1078"/>
                  </a:lnTo>
                  <a:lnTo>
                    <a:pt x="103" y="1053"/>
                  </a:lnTo>
                  <a:lnTo>
                    <a:pt x="72" y="1032"/>
                  </a:lnTo>
                  <a:lnTo>
                    <a:pt x="47" y="1012"/>
                  </a:lnTo>
                  <a:lnTo>
                    <a:pt x="26" y="998"/>
                  </a:lnTo>
                  <a:lnTo>
                    <a:pt x="12" y="985"/>
                  </a:lnTo>
                  <a:lnTo>
                    <a:pt x="4" y="978"/>
                  </a:lnTo>
                  <a:lnTo>
                    <a:pt x="0" y="975"/>
                  </a:lnTo>
                  <a:lnTo>
                    <a:pt x="38" y="853"/>
                  </a:lnTo>
                  <a:lnTo>
                    <a:pt x="78" y="740"/>
                  </a:lnTo>
                  <a:lnTo>
                    <a:pt x="121" y="636"/>
                  </a:lnTo>
                  <a:lnTo>
                    <a:pt x="165" y="543"/>
                  </a:lnTo>
                  <a:lnTo>
                    <a:pt x="212" y="457"/>
                  </a:lnTo>
                  <a:lnTo>
                    <a:pt x="259" y="380"/>
                  </a:lnTo>
                  <a:lnTo>
                    <a:pt x="308" y="312"/>
                  </a:lnTo>
                  <a:lnTo>
                    <a:pt x="360" y="251"/>
                  </a:lnTo>
                  <a:lnTo>
                    <a:pt x="410" y="198"/>
                  </a:lnTo>
                  <a:lnTo>
                    <a:pt x="464" y="152"/>
                  </a:lnTo>
                  <a:lnTo>
                    <a:pt x="518" y="113"/>
                  </a:lnTo>
                  <a:lnTo>
                    <a:pt x="572" y="80"/>
                  </a:lnTo>
                  <a:lnTo>
                    <a:pt x="627" y="54"/>
                  </a:lnTo>
                  <a:lnTo>
                    <a:pt x="681" y="33"/>
                  </a:lnTo>
                  <a:lnTo>
                    <a:pt x="736" y="17"/>
                  </a:lnTo>
                  <a:lnTo>
                    <a:pt x="791" y="7"/>
                  </a:lnTo>
                  <a:lnTo>
                    <a:pt x="847" y="0"/>
                  </a:lnTo>
                  <a:lnTo>
                    <a:pt x="902"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4" name="Freeform 32">
              <a:extLst>
                <a:ext uri="{FF2B5EF4-FFF2-40B4-BE49-F238E27FC236}">
                  <a16:creationId xmlns:a16="http://schemas.microsoft.com/office/drawing/2014/main" id="{B209EB22-1CFE-4FF4-B2A6-17C58D4F26C6}"/>
                </a:ext>
              </a:extLst>
            </p:cNvPr>
            <p:cNvSpPr>
              <a:spLocks/>
            </p:cNvSpPr>
            <p:nvPr/>
          </p:nvSpPr>
          <p:spPr bwMode="auto">
            <a:xfrm>
              <a:off x="4709995" y="2235793"/>
              <a:ext cx="617887" cy="914890"/>
            </a:xfrm>
            <a:custGeom>
              <a:avLst/>
              <a:gdLst>
                <a:gd name="T0" fmla="*/ 827 w 827"/>
                <a:gd name="T1" fmla="*/ 0 h 1225"/>
                <a:gd name="T2" fmla="*/ 770 w 827"/>
                <a:gd name="T3" fmla="*/ 55 h 1225"/>
                <a:gd name="T4" fmla="*/ 718 w 827"/>
                <a:gd name="T5" fmla="*/ 117 h 1225"/>
                <a:gd name="T6" fmla="*/ 673 w 827"/>
                <a:gd name="T7" fmla="*/ 184 h 1225"/>
                <a:gd name="T8" fmla="*/ 630 w 827"/>
                <a:gd name="T9" fmla="*/ 256 h 1225"/>
                <a:gd name="T10" fmla="*/ 593 w 827"/>
                <a:gd name="T11" fmla="*/ 329 h 1225"/>
                <a:gd name="T12" fmla="*/ 559 w 827"/>
                <a:gd name="T13" fmla="*/ 407 h 1225"/>
                <a:gd name="T14" fmla="*/ 529 w 827"/>
                <a:gd name="T15" fmla="*/ 486 h 1225"/>
                <a:gd name="T16" fmla="*/ 505 w 827"/>
                <a:gd name="T17" fmla="*/ 566 h 1225"/>
                <a:gd name="T18" fmla="*/ 482 w 827"/>
                <a:gd name="T19" fmla="*/ 645 h 1225"/>
                <a:gd name="T20" fmla="*/ 464 w 827"/>
                <a:gd name="T21" fmla="*/ 724 h 1225"/>
                <a:gd name="T22" fmla="*/ 448 w 827"/>
                <a:gd name="T23" fmla="*/ 800 h 1225"/>
                <a:gd name="T24" fmla="*/ 435 w 827"/>
                <a:gd name="T25" fmla="*/ 875 h 1225"/>
                <a:gd name="T26" fmla="*/ 425 w 827"/>
                <a:gd name="T27" fmla="*/ 947 h 1225"/>
                <a:gd name="T28" fmla="*/ 415 w 827"/>
                <a:gd name="T29" fmla="*/ 1015 h 1225"/>
                <a:gd name="T30" fmla="*/ 409 w 827"/>
                <a:gd name="T31" fmla="*/ 1077 h 1225"/>
                <a:gd name="T32" fmla="*/ 406 w 827"/>
                <a:gd name="T33" fmla="*/ 1134 h 1225"/>
                <a:gd name="T34" fmla="*/ 402 w 827"/>
                <a:gd name="T35" fmla="*/ 1183 h 1225"/>
                <a:gd name="T36" fmla="*/ 399 w 827"/>
                <a:gd name="T37" fmla="*/ 1225 h 1225"/>
                <a:gd name="T38" fmla="*/ 342 w 827"/>
                <a:gd name="T39" fmla="*/ 1198 h 1225"/>
                <a:gd name="T40" fmla="*/ 288 w 827"/>
                <a:gd name="T41" fmla="*/ 1170 h 1225"/>
                <a:gd name="T42" fmla="*/ 238 w 827"/>
                <a:gd name="T43" fmla="*/ 1141 h 1225"/>
                <a:gd name="T44" fmla="*/ 192 w 827"/>
                <a:gd name="T45" fmla="*/ 1111 h 1225"/>
                <a:gd name="T46" fmla="*/ 150 w 827"/>
                <a:gd name="T47" fmla="*/ 1085 h 1225"/>
                <a:gd name="T48" fmla="*/ 113 w 827"/>
                <a:gd name="T49" fmla="*/ 1059 h 1225"/>
                <a:gd name="T50" fmla="*/ 80 w 827"/>
                <a:gd name="T51" fmla="*/ 1035 h 1225"/>
                <a:gd name="T52" fmla="*/ 52 w 827"/>
                <a:gd name="T53" fmla="*/ 1015 h 1225"/>
                <a:gd name="T54" fmla="*/ 30 w 827"/>
                <a:gd name="T55" fmla="*/ 997 h 1225"/>
                <a:gd name="T56" fmla="*/ 13 w 827"/>
                <a:gd name="T57" fmla="*/ 984 h 1225"/>
                <a:gd name="T58" fmla="*/ 4 w 827"/>
                <a:gd name="T59" fmla="*/ 976 h 1225"/>
                <a:gd name="T60" fmla="*/ 0 w 827"/>
                <a:gd name="T61" fmla="*/ 973 h 1225"/>
                <a:gd name="T62" fmla="*/ 38 w 827"/>
                <a:gd name="T63" fmla="*/ 852 h 1225"/>
                <a:gd name="T64" fmla="*/ 77 w 827"/>
                <a:gd name="T65" fmla="*/ 743 h 1225"/>
                <a:gd name="T66" fmla="*/ 119 w 827"/>
                <a:gd name="T67" fmla="*/ 640 h 1225"/>
                <a:gd name="T68" fmla="*/ 161 w 827"/>
                <a:gd name="T69" fmla="*/ 548 h 1225"/>
                <a:gd name="T70" fmla="*/ 207 w 827"/>
                <a:gd name="T71" fmla="*/ 464 h 1225"/>
                <a:gd name="T72" fmla="*/ 253 w 827"/>
                <a:gd name="T73" fmla="*/ 388 h 1225"/>
                <a:gd name="T74" fmla="*/ 301 w 827"/>
                <a:gd name="T75" fmla="*/ 319 h 1225"/>
                <a:gd name="T76" fmla="*/ 350 w 827"/>
                <a:gd name="T77" fmla="*/ 259 h 1225"/>
                <a:gd name="T78" fmla="*/ 401 w 827"/>
                <a:gd name="T79" fmla="*/ 205 h 1225"/>
                <a:gd name="T80" fmla="*/ 453 w 827"/>
                <a:gd name="T81" fmla="*/ 160 h 1225"/>
                <a:gd name="T82" fmla="*/ 505 w 827"/>
                <a:gd name="T83" fmla="*/ 119 h 1225"/>
                <a:gd name="T84" fmla="*/ 559 w 827"/>
                <a:gd name="T85" fmla="*/ 86 h 1225"/>
                <a:gd name="T86" fmla="*/ 611 w 827"/>
                <a:gd name="T87" fmla="*/ 59 h 1225"/>
                <a:gd name="T88" fmla="*/ 666 w 827"/>
                <a:gd name="T89" fmla="*/ 36 h 1225"/>
                <a:gd name="T90" fmla="*/ 720 w 827"/>
                <a:gd name="T91" fmla="*/ 20 h 1225"/>
                <a:gd name="T92" fmla="*/ 773 w 827"/>
                <a:gd name="T93" fmla="*/ 8 h 1225"/>
                <a:gd name="T94" fmla="*/ 827 w 827"/>
                <a:gd name="T95" fmla="*/ 0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7" h="1225">
                  <a:moveTo>
                    <a:pt x="827" y="0"/>
                  </a:moveTo>
                  <a:lnTo>
                    <a:pt x="770" y="55"/>
                  </a:lnTo>
                  <a:lnTo>
                    <a:pt x="718" y="117"/>
                  </a:lnTo>
                  <a:lnTo>
                    <a:pt x="673" y="184"/>
                  </a:lnTo>
                  <a:lnTo>
                    <a:pt x="630" y="256"/>
                  </a:lnTo>
                  <a:lnTo>
                    <a:pt x="593" y="329"/>
                  </a:lnTo>
                  <a:lnTo>
                    <a:pt x="559" y="407"/>
                  </a:lnTo>
                  <a:lnTo>
                    <a:pt x="529" y="486"/>
                  </a:lnTo>
                  <a:lnTo>
                    <a:pt x="505" y="566"/>
                  </a:lnTo>
                  <a:lnTo>
                    <a:pt x="482" y="645"/>
                  </a:lnTo>
                  <a:lnTo>
                    <a:pt x="464" y="724"/>
                  </a:lnTo>
                  <a:lnTo>
                    <a:pt x="448" y="800"/>
                  </a:lnTo>
                  <a:lnTo>
                    <a:pt x="435" y="875"/>
                  </a:lnTo>
                  <a:lnTo>
                    <a:pt x="425" y="947"/>
                  </a:lnTo>
                  <a:lnTo>
                    <a:pt x="415" y="1015"/>
                  </a:lnTo>
                  <a:lnTo>
                    <a:pt x="409" y="1077"/>
                  </a:lnTo>
                  <a:lnTo>
                    <a:pt x="406" y="1134"/>
                  </a:lnTo>
                  <a:lnTo>
                    <a:pt x="402" y="1183"/>
                  </a:lnTo>
                  <a:lnTo>
                    <a:pt x="399" y="1225"/>
                  </a:lnTo>
                  <a:lnTo>
                    <a:pt x="342" y="1198"/>
                  </a:lnTo>
                  <a:lnTo>
                    <a:pt x="288" y="1170"/>
                  </a:lnTo>
                  <a:lnTo>
                    <a:pt x="238" y="1141"/>
                  </a:lnTo>
                  <a:lnTo>
                    <a:pt x="192" y="1111"/>
                  </a:lnTo>
                  <a:lnTo>
                    <a:pt x="150" y="1085"/>
                  </a:lnTo>
                  <a:lnTo>
                    <a:pt x="113" y="1059"/>
                  </a:lnTo>
                  <a:lnTo>
                    <a:pt x="80" y="1035"/>
                  </a:lnTo>
                  <a:lnTo>
                    <a:pt x="52" y="1015"/>
                  </a:lnTo>
                  <a:lnTo>
                    <a:pt x="30" y="997"/>
                  </a:lnTo>
                  <a:lnTo>
                    <a:pt x="13" y="984"/>
                  </a:lnTo>
                  <a:lnTo>
                    <a:pt x="4" y="976"/>
                  </a:lnTo>
                  <a:lnTo>
                    <a:pt x="0" y="973"/>
                  </a:lnTo>
                  <a:lnTo>
                    <a:pt x="38" y="852"/>
                  </a:lnTo>
                  <a:lnTo>
                    <a:pt x="77" y="743"/>
                  </a:lnTo>
                  <a:lnTo>
                    <a:pt x="119" y="640"/>
                  </a:lnTo>
                  <a:lnTo>
                    <a:pt x="161" y="548"/>
                  </a:lnTo>
                  <a:lnTo>
                    <a:pt x="207" y="464"/>
                  </a:lnTo>
                  <a:lnTo>
                    <a:pt x="253" y="388"/>
                  </a:lnTo>
                  <a:lnTo>
                    <a:pt x="301" y="319"/>
                  </a:lnTo>
                  <a:lnTo>
                    <a:pt x="350" y="259"/>
                  </a:lnTo>
                  <a:lnTo>
                    <a:pt x="401" y="205"/>
                  </a:lnTo>
                  <a:lnTo>
                    <a:pt x="453" y="160"/>
                  </a:lnTo>
                  <a:lnTo>
                    <a:pt x="505" y="119"/>
                  </a:lnTo>
                  <a:lnTo>
                    <a:pt x="559" y="86"/>
                  </a:lnTo>
                  <a:lnTo>
                    <a:pt x="611" y="59"/>
                  </a:lnTo>
                  <a:lnTo>
                    <a:pt x="666" y="36"/>
                  </a:lnTo>
                  <a:lnTo>
                    <a:pt x="720" y="20"/>
                  </a:lnTo>
                  <a:lnTo>
                    <a:pt x="773" y="8"/>
                  </a:lnTo>
                  <a:lnTo>
                    <a:pt x="827"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25" name="Group 20">
            <a:extLst>
              <a:ext uri="{FF2B5EF4-FFF2-40B4-BE49-F238E27FC236}">
                <a16:creationId xmlns:a16="http://schemas.microsoft.com/office/drawing/2014/main" id="{60403790-F1A4-425A-B9B8-E3FB4768668E}"/>
              </a:ext>
            </a:extLst>
          </p:cNvPr>
          <p:cNvGrpSpPr/>
          <p:nvPr/>
        </p:nvGrpSpPr>
        <p:grpSpPr>
          <a:xfrm>
            <a:off x="4955860" y="2026442"/>
            <a:ext cx="722360" cy="713405"/>
            <a:chOff x="4856256" y="1365678"/>
            <a:chExt cx="722360" cy="713405"/>
          </a:xfrm>
        </p:grpSpPr>
        <p:sp>
          <p:nvSpPr>
            <p:cNvPr id="26" name="Freeform 26">
              <a:extLst>
                <a:ext uri="{FF2B5EF4-FFF2-40B4-BE49-F238E27FC236}">
                  <a16:creationId xmlns:a16="http://schemas.microsoft.com/office/drawing/2014/main" id="{212369EB-5E00-4114-A1CD-DAF2532A0319}"/>
                </a:ext>
              </a:extLst>
            </p:cNvPr>
            <p:cNvSpPr>
              <a:spLocks/>
            </p:cNvSpPr>
            <p:nvPr/>
          </p:nvSpPr>
          <p:spPr bwMode="auto">
            <a:xfrm>
              <a:off x="4856256" y="1365678"/>
              <a:ext cx="722360" cy="713405"/>
            </a:xfrm>
            <a:custGeom>
              <a:avLst/>
              <a:gdLst>
                <a:gd name="T0" fmla="*/ 597 w 968"/>
                <a:gd name="T1" fmla="*/ 2 h 955"/>
                <a:gd name="T2" fmla="*/ 675 w 968"/>
                <a:gd name="T3" fmla="*/ 6 h 955"/>
                <a:gd name="T4" fmla="*/ 747 w 968"/>
                <a:gd name="T5" fmla="*/ 16 h 955"/>
                <a:gd name="T6" fmla="*/ 812 w 968"/>
                <a:gd name="T7" fmla="*/ 29 h 955"/>
                <a:gd name="T8" fmla="*/ 866 w 968"/>
                <a:gd name="T9" fmla="*/ 42 h 955"/>
                <a:gd name="T10" fmla="*/ 906 w 968"/>
                <a:gd name="T11" fmla="*/ 54 h 955"/>
                <a:gd name="T12" fmla="*/ 932 w 968"/>
                <a:gd name="T13" fmla="*/ 62 h 955"/>
                <a:gd name="T14" fmla="*/ 942 w 968"/>
                <a:gd name="T15" fmla="*/ 65 h 955"/>
                <a:gd name="T16" fmla="*/ 965 w 968"/>
                <a:gd name="T17" fmla="*/ 244 h 955"/>
                <a:gd name="T18" fmla="*/ 966 w 968"/>
                <a:gd name="T19" fmla="*/ 399 h 955"/>
                <a:gd name="T20" fmla="*/ 949 w 968"/>
                <a:gd name="T21" fmla="*/ 530 h 955"/>
                <a:gd name="T22" fmla="*/ 914 w 968"/>
                <a:gd name="T23" fmla="*/ 639 h 955"/>
                <a:gd name="T24" fmla="*/ 867 w 968"/>
                <a:gd name="T25" fmla="*/ 728 h 955"/>
                <a:gd name="T26" fmla="*/ 807 w 968"/>
                <a:gd name="T27" fmla="*/ 800 h 955"/>
                <a:gd name="T28" fmla="*/ 737 w 968"/>
                <a:gd name="T29" fmla="*/ 855 h 955"/>
                <a:gd name="T30" fmla="*/ 660 w 968"/>
                <a:gd name="T31" fmla="*/ 898 h 955"/>
                <a:gd name="T32" fmla="*/ 581 w 968"/>
                <a:gd name="T33" fmla="*/ 927 h 955"/>
                <a:gd name="T34" fmla="*/ 496 w 968"/>
                <a:gd name="T35" fmla="*/ 945 h 955"/>
                <a:gd name="T36" fmla="*/ 413 w 968"/>
                <a:gd name="T37" fmla="*/ 953 h 955"/>
                <a:gd name="T38" fmla="*/ 332 w 968"/>
                <a:gd name="T39" fmla="*/ 955 h 955"/>
                <a:gd name="T40" fmla="*/ 254 w 968"/>
                <a:gd name="T41" fmla="*/ 952 h 955"/>
                <a:gd name="T42" fmla="*/ 185 w 968"/>
                <a:gd name="T43" fmla="*/ 943 h 955"/>
                <a:gd name="T44" fmla="*/ 123 w 968"/>
                <a:gd name="T45" fmla="*/ 935 h 955"/>
                <a:gd name="T46" fmla="*/ 74 w 968"/>
                <a:gd name="T47" fmla="*/ 925 h 955"/>
                <a:gd name="T48" fmla="*/ 40 w 968"/>
                <a:gd name="T49" fmla="*/ 917 h 955"/>
                <a:gd name="T50" fmla="*/ 21 w 968"/>
                <a:gd name="T51" fmla="*/ 912 h 955"/>
                <a:gd name="T52" fmla="*/ 8 w 968"/>
                <a:gd name="T53" fmla="*/ 813 h 955"/>
                <a:gd name="T54" fmla="*/ 0 w 968"/>
                <a:gd name="T55" fmla="*/ 637 h 955"/>
                <a:gd name="T56" fmla="*/ 11 w 968"/>
                <a:gd name="T57" fmla="*/ 487 h 955"/>
                <a:gd name="T58" fmla="*/ 39 w 968"/>
                <a:gd name="T59" fmla="*/ 362 h 955"/>
                <a:gd name="T60" fmla="*/ 81 w 968"/>
                <a:gd name="T61" fmla="*/ 259 h 955"/>
                <a:gd name="T62" fmla="*/ 136 w 968"/>
                <a:gd name="T63" fmla="*/ 178 h 955"/>
                <a:gd name="T64" fmla="*/ 201 w 968"/>
                <a:gd name="T65" fmla="*/ 112 h 955"/>
                <a:gd name="T66" fmla="*/ 273 w 968"/>
                <a:gd name="T67" fmla="*/ 65 h 955"/>
                <a:gd name="T68" fmla="*/ 351 w 968"/>
                <a:gd name="T69" fmla="*/ 32 h 955"/>
                <a:gd name="T70" fmla="*/ 434 w 968"/>
                <a:gd name="T71" fmla="*/ 13 h 955"/>
                <a:gd name="T72" fmla="*/ 516 w 968"/>
                <a:gd name="T73" fmla="*/ 2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8" h="955">
                  <a:moveTo>
                    <a:pt x="556" y="0"/>
                  </a:moveTo>
                  <a:lnTo>
                    <a:pt x="597" y="2"/>
                  </a:lnTo>
                  <a:lnTo>
                    <a:pt x="638" y="3"/>
                  </a:lnTo>
                  <a:lnTo>
                    <a:pt x="675" y="6"/>
                  </a:lnTo>
                  <a:lnTo>
                    <a:pt x="713" y="11"/>
                  </a:lnTo>
                  <a:lnTo>
                    <a:pt x="747" y="16"/>
                  </a:lnTo>
                  <a:lnTo>
                    <a:pt x="781" y="23"/>
                  </a:lnTo>
                  <a:lnTo>
                    <a:pt x="812" y="29"/>
                  </a:lnTo>
                  <a:lnTo>
                    <a:pt x="839" y="36"/>
                  </a:lnTo>
                  <a:lnTo>
                    <a:pt x="866" y="42"/>
                  </a:lnTo>
                  <a:lnTo>
                    <a:pt x="887" y="49"/>
                  </a:lnTo>
                  <a:lnTo>
                    <a:pt x="906" y="54"/>
                  </a:lnTo>
                  <a:lnTo>
                    <a:pt x="921" y="59"/>
                  </a:lnTo>
                  <a:lnTo>
                    <a:pt x="932" y="62"/>
                  </a:lnTo>
                  <a:lnTo>
                    <a:pt x="939" y="65"/>
                  </a:lnTo>
                  <a:lnTo>
                    <a:pt x="942" y="65"/>
                  </a:lnTo>
                  <a:lnTo>
                    <a:pt x="957" y="158"/>
                  </a:lnTo>
                  <a:lnTo>
                    <a:pt x="965" y="244"/>
                  </a:lnTo>
                  <a:lnTo>
                    <a:pt x="968" y="324"/>
                  </a:lnTo>
                  <a:lnTo>
                    <a:pt x="966" y="399"/>
                  </a:lnTo>
                  <a:lnTo>
                    <a:pt x="960" y="466"/>
                  </a:lnTo>
                  <a:lnTo>
                    <a:pt x="949" y="530"/>
                  </a:lnTo>
                  <a:lnTo>
                    <a:pt x="934" y="587"/>
                  </a:lnTo>
                  <a:lnTo>
                    <a:pt x="914" y="639"/>
                  </a:lnTo>
                  <a:lnTo>
                    <a:pt x="892" y="686"/>
                  </a:lnTo>
                  <a:lnTo>
                    <a:pt x="867" y="728"/>
                  </a:lnTo>
                  <a:lnTo>
                    <a:pt x="838" y="766"/>
                  </a:lnTo>
                  <a:lnTo>
                    <a:pt x="807" y="800"/>
                  </a:lnTo>
                  <a:lnTo>
                    <a:pt x="773" y="829"/>
                  </a:lnTo>
                  <a:lnTo>
                    <a:pt x="737" y="855"/>
                  </a:lnTo>
                  <a:lnTo>
                    <a:pt x="699" y="878"/>
                  </a:lnTo>
                  <a:lnTo>
                    <a:pt x="660" y="898"/>
                  </a:lnTo>
                  <a:lnTo>
                    <a:pt x="621" y="914"/>
                  </a:lnTo>
                  <a:lnTo>
                    <a:pt x="581" y="927"/>
                  </a:lnTo>
                  <a:lnTo>
                    <a:pt x="538" y="937"/>
                  </a:lnTo>
                  <a:lnTo>
                    <a:pt x="496" y="945"/>
                  </a:lnTo>
                  <a:lnTo>
                    <a:pt x="454" y="950"/>
                  </a:lnTo>
                  <a:lnTo>
                    <a:pt x="413" y="953"/>
                  </a:lnTo>
                  <a:lnTo>
                    <a:pt x="371" y="955"/>
                  </a:lnTo>
                  <a:lnTo>
                    <a:pt x="332" y="955"/>
                  </a:lnTo>
                  <a:lnTo>
                    <a:pt x="293" y="955"/>
                  </a:lnTo>
                  <a:lnTo>
                    <a:pt x="254" y="952"/>
                  </a:lnTo>
                  <a:lnTo>
                    <a:pt x="218" y="948"/>
                  </a:lnTo>
                  <a:lnTo>
                    <a:pt x="185" y="943"/>
                  </a:lnTo>
                  <a:lnTo>
                    <a:pt x="153" y="940"/>
                  </a:lnTo>
                  <a:lnTo>
                    <a:pt x="123" y="935"/>
                  </a:lnTo>
                  <a:lnTo>
                    <a:pt x="97" y="930"/>
                  </a:lnTo>
                  <a:lnTo>
                    <a:pt x="74" y="925"/>
                  </a:lnTo>
                  <a:lnTo>
                    <a:pt x="55" y="921"/>
                  </a:lnTo>
                  <a:lnTo>
                    <a:pt x="40" y="917"/>
                  </a:lnTo>
                  <a:lnTo>
                    <a:pt x="29" y="914"/>
                  </a:lnTo>
                  <a:lnTo>
                    <a:pt x="21" y="912"/>
                  </a:lnTo>
                  <a:lnTo>
                    <a:pt x="19" y="911"/>
                  </a:lnTo>
                  <a:lnTo>
                    <a:pt x="8" y="813"/>
                  </a:lnTo>
                  <a:lnTo>
                    <a:pt x="1" y="722"/>
                  </a:lnTo>
                  <a:lnTo>
                    <a:pt x="0" y="637"/>
                  </a:lnTo>
                  <a:lnTo>
                    <a:pt x="3" y="559"/>
                  </a:lnTo>
                  <a:lnTo>
                    <a:pt x="11" y="487"/>
                  </a:lnTo>
                  <a:lnTo>
                    <a:pt x="22" y="422"/>
                  </a:lnTo>
                  <a:lnTo>
                    <a:pt x="39" y="362"/>
                  </a:lnTo>
                  <a:lnTo>
                    <a:pt x="58" y="308"/>
                  </a:lnTo>
                  <a:lnTo>
                    <a:pt x="81" y="259"/>
                  </a:lnTo>
                  <a:lnTo>
                    <a:pt x="107" y="215"/>
                  </a:lnTo>
                  <a:lnTo>
                    <a:pt x="136" y="178"/>
                  </a:lnTo>
                  <a:lnTo>
                    <a:pt x="167" y="143"/>
                  </a:lnTo>
                  <a:lnTo>
                    <a:pt x="201" y="112"/>
                  </a:lnTo>
                  <a:lnTo>
                    <a:pt x="236" y="88"/>
                  </a:lnTo>
                  <a:lnTo>
                    <a:pt x="273" y="65"/>
                  </a:lnTo>
                  <a:lnTo>
                    <a:pt x="312" y="47"/>
                  </a:lnTo>
                  <a:lnTo>
                    <a:pt x="351" y="32"/>
                  </a:lnTo>
                  <a:lnTo>
                    <a:pt x="392" y="21"/>
                  </a:lnTo>
                  <a:lnTo>
                    <a:pt x="434" y="13"/>
                  </a:lnTo>
                  <a:lnTo>
                    <a:pt x="475" y="6"/>
                  </a:lnTo>
                  <a:lnTo>
                    <a:pt x="516" y="2"/>
                  </a:lnTo>
                  <a:lnTo>
                    <a:pt x="556" y="0"/>
                  </a:lnTo>
                  <a:close/>
                </a:path>
              </a:pathLst>
            </a:custGeom>
            <a:solidFill>
              <a:srgbClr val="1B9D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7" name="Freeform 33">
              <a:extLst>
                <a:ext uri="{FF2B5EF4-FFF2-40B4-BE49-F238E27FC236}">
                  <a16:creationId xmlns:a16="http://schemas.microsoft.com/office/drawing/2014/main" id="{19B93779-2881-4236-8711-5E185A7995A8}"/>
                </a:ext>
              </a:extLst>
            </p:cNvPr>
            <p:cNvSpPr>
              <a:spLocks/>
            </p:cNvSpPr>
            <p:nvPr/>
          </p:nvSpPr>
          <p:spPr bwMode="auto">
            <a:xfrm>
              <a:off x="4856261" y="1814912"/>
              <a:ext cx="647736" cy="264169"/>
            </a:xfrm>
            <a:custGeom>
              <a:avLst/>
              <a:gdLst>
                <a:gd name="T0" fmla="*/ 0 w 869"/>
                <a:gd name="T1" fmla="*/ 0 h 354"/>
                <a:gd name="T2" fmla="*/ 26 w 869"/>
                <a:gd name="T3" fmla="*/ 13 h 354"/>
                <a:gd name="T4" fmla="*/ 60 w 869"/>
                <a:gd name="T5" fmla="*/ 28 h 354"/>
                <a:gd name="T6" fmla="*/ 99 w 869"/>
                <a:gd name="T7" fmla="*/ 44 h 354"/>
                <a:gd name="T8" fmla="*/ 144 w 869"/>
                <a:gd name="T9" fmla="*/ 62 h 354"/>
                <a:gd name="T10" fmla="*/ 195 w 869"/>
                <a:gd name="T11" fmla="*/ 82 h 354"/>
                <a:gd name="T12" fmla="*/ 250 w 869"/>
                <a:gd name="T13" fmla="*/ 100 h 354"/>
                <a:gd name="T14" fmla="*/ 309 w 869"/>
                <a:gd name="T15" fmla="*/ 118 h 354"/>
                <a:gd name="T16" fmla="*/ 369 w 869"/>
                <a:gd name="T17" fmla="*/ 134 h 354"/>
                <a:gd name="T18" fmla="*/ 433 w 869"/>
                <a:gd name="T19" fmla="*/ 147 h 354"/>
                <a:gd name="T20" fmla="*/ 496 w 869"/>
                <a:gd name="T21" fmla="*/ 158 h 354"/>
                <a:gd name="T22" fmla="*/ 561 w 869"/>
                <a:gd name="T23" fmla="*/ 165 h 354"/>
                <a:gd name="T24" fmla="*/ 626 w 869"/>
                <a:gd name="T25" fmla="*/ 168 h 354"/>
                <a:gd name="T26" fmla="*/ 690 w 869"/>
                <a:gd name="T27" fmla="*/ 166 h 354"/>
                <a:gd name="T28" fmla="*/ 752 w 869"/>
                <a:gd name="T29" fmla="*/ 158 h 354"/>
                <a:gd name="T30" fmla="*/ 812 w 869"/>
                <a:gd name="T31" fmla="*/ 145 h 354"/>
                <a:gd name="T32" fmla="*/ 869 w 869"/>
                <a:gd name="T33" fmla="*/ 124 h 354"/>
                <a:gd name="T34" fmla="*/ 831 w 869"/>
                <a:gd name="T35" fmla="*/ 173 h 354"/>
                <a:gd name="T36" fmla="*/ 791 w 869"/>
                <a:gd name="T37" fmla="*/ 215 h 354"/>
                <a:gd name="T38" fmla="*/ 745 w 869"/>
                <a:gd name="T39" fmla="*/ 250 h 354"/>
                <a:gd name="T40" fmla="*/ 696 w 869"/>
                <a:gd name="T41" fmla="*/ 279 h 354"/>
                <a:gd name="T42" fmla="*/ 646 w 869"/>
                <a:gd name="T43" fmla="*/ 303 h 354"/>
                <a:gd name="T44" fmla="*/ 594 w 869"/>
                <a:gd name="T45" fmla="*/ 321 h 354"/>
                <a:gd name="T46" fmla="*/ 540 w 869"/>
                <a:gd name="T47" fmla="*/ 336 h 354"/>
                <a:gd name="T48" fmla="*/ 486 w 869"/>
                <a:gd name="T49" fmla="*/ 346 h 354"/>
                <a:gd name="T50" fmla="*/ 433 w 869"/>
                <a:gd name="T51" fmla="*/ 351 h 354"/>
                <a:gd name="T52" fmla="*/ 379 w 869"/>
                <a:gd name="T53" fmla="*/ 354 h 354"/>
                <a:gd name="T54" fmla="*/ 327 w 869"/>
                <a:gd name="T55" fmla="*/ 354 h 354"/>
                <a:gd name="T56" fmla="*/ 276 w 869"/>
                <a:gd name="T57" fmla="*/ 352 h 354"/>
                <a:gd name="T58" fmla="*/ 229 w 869"/>
                <a:gd name="T59" fmla="*/ 349 h 354"/>
                <a:gd name="T60" fmla="*/ 185 w 869"/>
                <a:gd name="T61" fmla="*/ 344 h 354"/>
                <a:gd name="T62" fmla="*/ 144 w 869"/>
                <a:gd name="T63" fmla="*/ 338 h 354"/>
                <a:gd name="T64" fmla="*/ 109 w 869"/>
                <a:gd name="T65" fmla="*/ 331 h 354"/>
                <a:gd name="T66" fmla="*/ 78 w 869"/>
                <a:gd name="T67" fmla="*/ 324 h 354"/>
                <a:gd name="T68" fmla="*/ 53 w 869"/>
                <a:gd name="T69" fmla="*/ 320 h 354"/>
                <a:gd name="T70" fmla="*/ 34 w 869"/>
                <a:gd name="T71" fmla="*/ 315 h 354"/>
                <a:gd name="T72" fmla="*/ 22 w 869"/>
                <a:gd name="T73" fmla="*/ 311 h 354"/>
                <a:gd name="T74" fmla="*/ 19 w 869"/>
                <a:gd name="T75" fmla="*/ 310 h 354"/>
                <a:gd name="T76" fmla="*/ 8 w 869"/>
                <a:gd name="T77" fmla="*/ 225 h 354"/>
                <a:gd name="T78" fmla="*/ 1 w 869"/>
                <a:gd name="T79" fmla="*/ 145 h 354"/>
                <a:gd name="T80" fmla="*/ 0 w 869"/>
                <a:gd name="T81" fmla="*/ 70 h 354"/>
                <a:gd name="T82" fmla="*/ 0 w 869"/>
                <a:gd name="T83"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69" h="354">
                  <a:moveTo>
                    <a:pt x="0" y="0"/>
                  </a:moveTo>
                  <a:lnTo>
                    <a:pt x="26" y="13"/>
                  </a:lnTo>
                  <a:lnTo>
                    <a:pt x="60" y="28"/>
                  </a:lnTo>
                  <a:lnTo>
                    <a:pt x="99" y="44"/>
                  </a:lnTo>
                  <a:lnTo>
                    <a:pt x="144" y="62"/>
                  </a:lnTo>
                  <a:lnTo>
                    <a:pt x="195" y="82"/>
                  </a:lnTo>
                  <a:lnTo>
                    <a:pt x="250" y="100"/>
                  </a:lnTo>
                  <a:lnTo>
                    <a:pt x="309" y="118"/>
                  </a:lnTo>
                  <a:lnTo>
                    <a:pt x="369" y="134"/>
                  </a:lnTo>
                  <a:lnTo>
                    <a:pt x="433" y="147"/>
                  </a:lnTo>
                  <a:lnTo>
                    <a:pt x="496" y="158"/>
                  </a:lnTo>
                  <a:lnTo>
                    <a:pt x="561" y="165"/>
                  </a:lnTo>
                  <a:lnTo>
                    <a:pt x="626" y="168"/>
                  </a:lnTo>
                  <a:lnTo>
                    <a:pt x="690" y="166"/>
                  </a:lnTo>
                  <a:lnTo>
                    <a:pt x="752" y="158"/>
                  </a:lnTo>
                  <a:lnTo>
                    <a:pt x="812" y="145"/>
                  </a:lnTo>
                  <a:lnTo>
                    <a:pt x="869" y="124"/>
                  </a:lnTo>
                  <a:lnTo>
                    <a:pt x="831" y="173"/>
                  </a:lnTo>
                  <a:lnTo>
                    <a:pt x="791" y="215"/>
                  </a:lnTo>
                  <a:lnTo>
                    <a:pt x="745" y="250"/>
                  </a:lnTo>
                  <a:lnTo>
                    <a:pt x="696" y="279"/>
                  </a:lnTo>
                  <a:lnTo>
                    <a:pt x="646" y="303"/>
                  </a:lnTo>
                  <a:lnTo>
                    <a:pt x="594" y="321"/>
                  </a:lnTo>
                  <a:lnTo>
                    <a:pt x="540" y="336"/>
                  </a:lnTo>
                  <a:lnTo>
                    <a:pt x="486" y="346"/>
                  </a:lnTo>
                  <a:lnTo>
                    <a:pt x="433" y="351"/>
                  </a:lnTo>
                  <a:lnTo>
                    <a:pt x="379" y="354"/>
                  </a:lnTo>
                  <a:lnTo>
                    <a:pt x="327" y="354"/>
                  </a:lnTo>
                  <a:lnTo>
                    <a:pt x="276" y="352"/>
                  </a:lnTo>
                  <a:lnTo>
                    <a:pt x="229" y="349"/>
                  </a:lnTo>
                  <a:lnTo>
                    <a:pt x="185" y="344"/>
                  </a:lnTo>
                  <a:lnTo>
                    <a:pt x="144" y="338"/>
                  </a:lnTo>
                  <a:lnTo>
                    <a:pt x="109" y="331"/>
                  </a:lnTo>
                  <a:lnTo>
                    <a:pt x="78" y="324"/>
                  </a:lnTo>
                  <a:lnTo>
                    <a:pt x="53" y="320"/>
                  </a:lnTo>
                  <a:lnTo>
                    <a:pt x="34" y="315"/>
                  </a:lnTo>
                  <a:lnTo>
                    <a:pt x="22" y="311"/>
                  </a:lnTo>
                  <a:lnTo>
                    <a:pt x="19" y="310"/>
                  </a:lnTo>
                  <a:lnTo>
                    <a:pt x="8" y="225"/>
                  </a:lnTo>
                  <a:lnTo>
                    <a:pt x="1" y="145"/>
                  </a:lnTo>
                  <a:lnTo>
                    <a:pt x="0" y="70"/>
                  </a:lnTo>
                  <a:lnTo>
                    <a:pt x="0" y="0"/>
                  </a:lnTo>
                  <a:close/>
                </a:path>
              </a:pathLst>
            </a:custGeom>
            <a:solidFill>
              <a:schemeClr val="bg1">
                <a:alpha val="2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28" name="TextBox 112">
            <a:extLst>
              <a:ext uri="{FF2B5EF4-FFF2-40B4-BE49-F238E27FC236}">
                <a16:creationId xmlns:a16="http://schemas.microsoft.com/office/drawing/2014/main" id="{49F34D75-3A26-4D98-A5D8-CC4F4521424D}"/>
              </a:ext>
            </a:extLst>
          </p:cNvPr>
          <p:cNvSpPr txBox="1"/>
          <p:nvPr/>
        </p:nvSpPr>
        <p:spPr>
          <a:xfrm>
            <a:off x="539551" y="4516219"/>
            <a:ext cx="2103154" cy="590931"/>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Reduction du tourisme industriel </a:t>
            </a:r>
            <a:endParaRPr lang="fr-FR" dirty="0">
              <a:solidFill>
                <a:schemeClr val="tx2"/>
              </a:solidFill>
              <a:latin typeface="Arial" pitchFamily="34" charset="0"/>
              <a:cs typeface="Arial" pitchFamily="34" charset="0"/>
            </a:endParaRPr>
          </a:p>
        </p:txBody>
      </p:sp>
      <p:sp>
        <p:nvSpPr>
          <p:cNvPr id="72" name="TextBox 156">
            <a:extLst>
              <a:ext uri="{FF2B5EF4-FFF2-40B4-BE49-F238E27FC236}">
                <a16:creationId xmlns:a16="http://schemas.microsoft.com/office/drawing/2014/main" id="{B658F6CB-D6BC-4D4F-914F-F4E61D484931}"/>
              </a:ext>
            </a:extLst>
          </p:cNvPr>
          <p:cNvSpPr txBox="1"/>
          <p:nvPr/>
        </p:nvSpPr>
        <p:spPr>
          <a:xfrm>
            <a:off x="750565" y="2319433"/>
            <a:ext cx="2410693" cy="1089529"/>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Limitation de l’extraction des ressources naturelles (mine secondaire)</a:t>
            </a:r>
            <a:endParaRPr lang="fr-FR" dirty="0">
              <a:solidFill>
                <a:schemeClr val="tx2"/>
              </a:solidFill>
              <a:latin typeface="Arial" pitchFamily="34" charset="0"/>
              <a:cs typeface="Arial" pitchFamily="34" charset="0"/>
            </a:endParaRPr>
          </a:p>
        </p:txBody>
      </p:sp>
      <p:sp>
        <p:nvSpPr>
          <p:cNvPr id="73" name="TextBox 157">
            <a:extLst>
              <a:ext uri="{FF2B5EF4-FFF2-40B4-BE49-F238E27FC236}">
                <a16:creationId xmlns:a16="http://schemas.microsoft.com/office/drawing/2014/main" id="{47271C29-1FC8-4064-AC3E-1E9A56800574}"/>
              </a:ext>
            </a:extLst>
          </p:cNvPr>
          <p:cNvSpPr txBox="1"/>
          <p:nvPr/>
        </p:nvSpPr>
        <p:spPr>
          <a:xfrm>
            <a:off x="6487209" y="3980688"/>
            <a:ext cx="2103154" cy="840230"/>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Filière avec un impact carbone limité  </a:t>
            </a:r>
            <a:endParaRPr lang="fr-FR" dirty="0">
              <a:solidFill>
                <a:schemeClr val="tx2"/>
              </a:solidFill>
              <a:latin typeface="Arial" pitchFamily="34" charset="0"/>
              <a:cs typeface="Arial" pitchFamily="34" charset="0"/>
            </a:endParaRPr>
          </a:p>
        </p:txBody>
      </p:sp>
      <p:sp>
        <p:nvSpPr>
          <p:cNvPr id="74" name="TextBox 158">
            <a:extLst>
              <a:ext uri="{FF2B5EF4-FFF2-40B4-BE49-F238E27FC236}">
                <a16:creationId xmlns:a16="http://schemas.microsoft.com/office/drawing/2014/main" id="{CF146C29-3ECC-45C0-B98A-C5476482F870}"/>
              </a:ext>
            </a:extLst>
          </p:cNvPr>
          <p:cNvSpPr txBox="1"/>
          <p:nvPr/>
        </p:nvSpPr>
        <p:spPr>
          <a:xfrm>
            <a:off x="6580403" y="2273267"/>
            <a:ext cx="2103154" cy="840230"/>
          </a:xfrm>
          <a:prstGeom prst="rect">
            <a:avLst/>
          </a:prstGeom>
          <a:noFill/>
        </p:spPr>
        <p:txBody>
          <a:bodyPr wrap="square" rtlCol="0">
            <a:spAutoFit/>
          </a:bodyPr>
          <a:lstStyle/>
          <a:p>
            <a:pPr algn="ctr">
              <a:lnSpc>
                <a:spcPct val="90000"/>
              </a:lnSpc>
            </a:pPr>
            <a:r>
              <a:rPr lang="fr-FR" kern="0" dirty="0">
                <a:solidFill>
                  <a:schemeClr val="tx2"/>
                </a:solidFill>
                <a:latin typeface="Arial" pitchFamily="34" charset="0"/>
                <a:cs typeface="Arial" pitchFamily="34" charset="0"/>
              </a:rPr>
              <a:t>Matériau régénérable à l’infini</a:t>
            </a:r>
            <a:endParaRPr lang="fr-FR" dirty="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6477071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78CDD25D-A5C8-4AAC-A649-3F109A0A9C7C}"/>
              </a:ext>
            </a:extLst>
          </p:cNvPr>
          <p:cNvGraphicFramePr>
            <a:graphicFrameLocks noChangeAspect="1"/>
          </p:cNvGraphicFramePr>
          <p:nvPr>
            <p:custDataLst>
              <p:tags r:id="rId1"/>
            </p:custDataLst>
            <p:extLst>
              <p:ext uri="{D42A27DB-BD31-4B8C-83A1-F6EECF244321}">
                <p14:modId xmlns:p14="http://schemas.microsoft.com/office/powerpoint/2010/main" val="2247524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8" name="Objet 7" hidden="1">
                        <a:extLst>
                          <a:ext uri="{FF2B5EF4-FFF2-40B4-BE49-F238E27FC236}">
                            <a16:creationId xmlns:a16="http://schemas.microsoft.com/office/drawing/2014/main" id="{78CDD25D-A5C8-4AAC-A649-3F109A0A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3" name="Rectangle : coins arrondis 162">
            <a:extLst>
              <a:ext uri="{FF2B5EF4-FFF2-40B4-BE49-F238E27FC236}">
                <a16:creationId xmlns:a16="http://schemas.microsoft.com/office/drawing/2014/main" id="{E0BCBAD2-961D-4DD5-BE86-7381C21D29E7}"/>
              </a:ext>
            </a:extLst>
          </p:cNvPr>
          <p:cNvSpPr/>
          <p:nvPr/>
        </p:nvSpPr>
        <p:spPr>
          <a:xfrm>
            <a:off x="4572000" y="790575"/>
            <a:ext cx="4031998" cy="5573558"/>
          </a:xfrm>
          <a:prstGeom prst="roundRect">
            <a:avLst/>
          </a:prstGeom>
          <a:solidFill>
            <a:srgbClr val="E3ED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C759A49C-0FB4-4580-B444-371646D30865}"/>
              </a:ext>
            </a:extLst>
          </p:cNvPr>
          <p:cNvSpPr>
            <a:spLocks noGrp="1"/>
          </p:cNvSpPr>
          <p:nvPr>
            <p:ph type="title"/>
          </p:nvPr>
        </p:nvSpPr>
        <p:spPr/>
        <p:txBody>
          <a:bodyPr vert="horz"/>
          <a:lstStyle/>
          <a:p>
            <a:r>
              <a:rPr lang="fr-FR" dirty="0"/>
              <a:t>La filière valorisation est moins énergivore que la voie standard (éponges)</a:t>
            </a:r>
          </a:p>
        </p:txBody>
      </p:sp>
      <p:sp>
        <p:nvSpPr>
          <p:cNvPr id="4" name="Espace réservé du texte 3">
            <a:extLst>
              <a:ext uri="{FF2B5EF4-FFF2-40B4-BE49-F238E27FC236}">
                <a16:creationId xmlns:a16="http://schemas.microsoft.com/office/drawing/2014/main" id="{767B2A99-2C16-4742-9D27-47761A6DF745}"/>
              </a:ext>
            </a:extLst>
          </p:cNvPr>
          <p:cNvSpPr>
            <a:spLocks noGrp="1"/>
          </p:cNvSpPr>
          <p:nvPr>
            <p:ph type="body" sz="quarter" idx="13"/>
          </p:nvPr>
        </p:nvSpPr>
        <p:spPr>
          <a:xfrm>
            <a:off x="215519" y="5898118"/>
            <a:ext cx="4031998" cy="439200"/>
          </a:xfrm>
        </p:spPr>
        <p:txBody>
          <a:bodyPr/>
          <a:lstStyle/>
          <a:p>
            <a:r>
              <a:rPr lang="fr-FR" dirty="0"/>
              <a:t>Inclus SCOPE 1-2-3 </a:t>
            </a:r>
          </a:p>
          <a:p>
            <a:pPr>
              <a:spcAft>
                <a:spcPts val="0"/>
              </a:spcAft>
            </a:pPr>
            <a:r>
              <a:rPr lang="fr-FR" dirty="0"/>
              <a:t>Le scope 1 prend en compte les émissions directes émises par la fabrication d'un produit ; </a:t>
            </a:r>
          </a:p>
          <a:p>
            <a:pPr>
              <a:spcAft>
                <a:spcPts val="0"/>
              </a:spcAft>
            </a:pPr>
            <a:r>
              <a:rPr lang="fr-FR" dirty="0"/>
              <a:t>le scope 2 intègre les émissions indirectes liées aux consommations énergétiques (ex : émissions liées à la production de l'électricité utilisée). </a:t>
            </a:r>
          </a:p>
          <a:p>
            <a:pPr>
              <a:spcAft>
                <a:spcPts val="0"/>
              </a:spcAft>
            </a:pPr>
            <a:r>
              <a:rPr lang="fr-FR" dirty="0"/>
              <a:t>Le scope 3 regroupe toutes les autres émissions de gaz à effet de serre liées à d’autres étapes du cycle de vie du produit (approvisionnement, transport, utilisation, fin de vie...). </a:t>
            </a:r>
          </a:p>
        </p:txBody>
      </p:sp>
      <p:sp>
        <p:nvSpPr>
          <p:cNvPr id="5" name="Espace réservé de la date 4">
            <a:extLst>
              <a:ext uri="{FF2B5EF4-FFF2-40B4-BE49-F238E27FC236}">
                <a16:creationId xmlns:a16="http://schemas.microsoft.com/office/drawing/2014/main" id="{F123DD2E-6767-4138-A3F2-2E72E90D6DBA}"/>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27319686-1374-4052-937E-83AD3BFFF6D1}"/>
              </a:ext>
            </a:extLst>
          </p:cNvPr>
          <p:cNvSpPr>
            <a:spLocks noGrp="1"/>
          </p:cNvSpPr>
          <p:nvPr>
            <p:ph type="ftr" sz="quarter" idx="15"/>
          </p:nvPr>
        </p:nvSpPr>
        <p:spPr/>
        <p:txBody>
          <a:bodyPr/>
          <a:lstStyle/>
          <a:p>
            <a:pPr algn="l"/>
            <a:r>
              <a:rPr lang="fr-FR" dirty="0"/>
              <a:t>EcoTitanium / UKAD : les avantages de la filière Titane</a:t>
            </a:r>
          </a:p>
        </p:txBody>
      </p:sp>
      <p:sp>
        <p:nvSpPr>
          <p:cNvPr id="7" name="Espace réservé du numéro de diapositive 6">
            <a:extLst>
              <a:ext uri="{FF2B5EF4-FFF2-40B4-BE49-F238E27FC236}">
                <a16:creationId xmlns:a16="http://schemas.microsoft.com/office/drawing/2014/main" id="{B9D47447-9E36-4D81-8625-BF34F70B8846}"/>
              </a:ext>
            </a:extLst>
          </p:cNvPr>
          <p:cNvSpPr>
            <a:spLocks noGrp="1"/>
          </p:cNvSpPr>
          <p:nvPr>
            <p:ph type="sldNum" sz="quarter" idx="16"/>
          </p:nvPr>
        </p:nvSpPr>
        <p:spPr/>
        <p:txBody>
          <a:bodyPr/>
          <a:lstStyle/>
          <a:p>
            <a:fld id="{733122C9-A0B9-462F-8757-0847AD287B63}" type="slidenum">
              <a:rPr lang="fr-FR" smtClean="0"/>
              <a:pPr/>
              <a:t>15</a:t>
            </a:fld>
            <a:endParaRPr lang="fr-FR" dirty="0"/>
          </a:p>
        </p:txBody>
      </p:sp>
      <p:sp>
        <p:nvSpPr>
          <p:cNvPr id="11" name="Rectangle 10">
            <a:extLst>
              <a:ext uri="{FF2B5EF4-FFF2-40B4-BE49-F238E27FC236}">
                <a16:creationId xmlns:a16="http://schemas.microsoft.com/office/drawing/2014/main" id="{812438C4-8B71-45AE-939E-8E6C829990FB}"/>
              </a:ext>
            </a:extLst>
          </p:cNvPr>
          <p:cNvSpPr/>
          <p:nvPr/>
        </p:nvSpPr>
        <p:spPr>
          <a:xfrm>
            <a:off x="1051629" y="943770"/>
            <a:ext cx="2417884" cy="501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2"/>
                </a:solidFill>
              </a:rPr>
              <a:t>Voie standard</a:t>
            </a:r>
          </a:p>
        </p:txBody>
      </p:sp>
      <p:sp>
        <p:nvSpPr>
          <p:cNvPr id="38" name="AutoShape 25">
            <a:extLst>
              <a:ext uri="{FF2B5EF4-FFF2-40B4-BE49-F238E27FC236}">
                <a16:creationId xmlns:a16="http://schemas.microsoft.com/office/drawing/2014/main" id="{7A1FDDA7-3A7D-4171-AC25-0E206CE13471}"/>
              </a:ext>
            </a:extLst>
          </p:cNvPr>
          <p:cNvSpPr>
            <a:spLocks noChangeArrowheads="1"/>
          </p:cNvSpPr>
          <p:nvPr/>
        </p:nvSpPr>
        <p:spPr bwMode="auto">
          <a:xfrm rot="5400000">
            <a:off x="2282785" y="3710918"/>
            <a:ext cx="697626" cy="2374751"/>
          </a:xfrm>
          <a:prstGeom prst="roundRect">
            <a:avLst>
              <a:gd name="adj" fmla="val 16667"/>
            </a:avLst>
          </a:prstGeom>
          <a:noFill/>
          <a:ln w="9525">
            <a:solidFill>
              <a:schemeClr val="accent5">
                <a:lumMod val="50000"/>
              </a:schemeClr>
            </a:solidFill>
            <a:round/>
            <a:headEnd/>
            <a:tailEnd/>
          </a:ln>
          <a:effectLst/>
        </p:spPr>
        <p:txBody>
          <a:bodyPr wrap="none" anchor="ctr"/>
          <a:lstStyle/>
          <a:p>
            <a:endParaRPr lang="fr-FR"/>
          </a:p>
        </p:txBody>
      </p:sp>
      <p:sp>
        <p:nvSpPr>
          <p:cNvPr id="39" name="Text Box 26">
            <a:extLst>
              <a:ext uri="{FF2B5EF4-FFF2-40B4-BE49-F238E27FC236}">
                <a16:creationId xmlns:a16="http://schemas.microsoft.com/office/drawing/2014/main" id="{53B68B11-77BE-4C87-B220-C6EF6DEEB1B2}"/>
              </a:ext>
            </a:extLst>
          </p:cNvPr>
          <p:cNvSpPr txBox="1">
            <a:spLocks noChangeArrowheads="1"/>
          </p:cNvSpPr>
          <p:nvPr/>
        </p:nvSpPr>
        <p:spPr bwMode="auto">
          <a:xfrm>
            <a:off x="1565250" y="4549560"/>
            <a:ext cx="2153138" cy="697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tx2"/>
                </a:solidFill>
              </a:rPr>
              <a:t>2 Refusions sous Vide</a:t>
            </a:r>
          </a:p>
          <a:p>
            <a:pPr algn="ctr">
              <a:spcBef>
                <a:spcPts val="400"/>
              </a:spcBef>
            </a:pPr>
            <a:r>
              <a:rPr lang="fr-FR" altLang="fr-FR" sz="1050" dirty="0">
                <a:solidFill>
                  <a:schemeClr val="tx2"/>
                </a:solidFill>
              </a:rPr>
              <a:t>(3 refusions pour qualité pièces moteurs tournantes)</a:t>
            </a:r>
          </a:p>
        </p:txBody>
      </p:sp>
      <p:sp>
        <p:nvSpPr>
          <p:cNvPr id="30" name="AutoShape 11">
            <a:extLst>
              <a:ext uri="{FF2B5EF4-FFF2-40B4-BE49-F238E27FC236}">
                <a16:creationId xmlns:a16="http://schemas.microsoft.com/office/drawing/2014/main" id="{AF67FEDE-EF84-49F0-A0C4-629B265B3842}"/>
              </a:ext>
            </a:extLst>
          </p:cNvPr>
          <p:cNvSpPr>
            <a:spLocks noChangeArrowheads="1"/>
          </p:cNvSpPr>
          <p:nvPr/>
        </p:nvSpPr>
        <p:spPr bwMode="auto">
          <a:xfrm rot="5400000">
            <a:off x="1670563" y="3170956"/>
            <a:ext cx="647700" cy="111601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p>
        </p:txBody>
      </p:sp>
      <p:sp>
        <p:nvSpPr>
          <p:cNvPr id="31" name="Text Box 12">
            <a:extLst>
              <a:ext uri="{FF2B5EF4-FFF2-40B4-BE49-F238E27FC236}">
                <a16:creationId xmlns:a16="http://schemas.microsoft.com/office/drawing/2014/main" id="{4518AD6E-1D8D-4AD8-84CB-6737B667DC5F}"/>
              </a:ext>
            </a:extLst>
          </p:cNvPr>
          <p:cNvSpPr txBox="1">
            <a:spLocks noChangeArrowheads="1"/>
          </p:cNvSpPr>
          <p:nvPr/>
        </p:nvSpPr>
        <p:spPr bwMode="auto">
          <a:xfrm>
            <a:off x="1436407" y="3441704"/>
            <a:ext cx="1116013"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ts val="400"/>
              </a:spcBef>
            </a:pPr>
            <a:r>
              <a:rPr lang="fr-FR" altLang="fr-FR" sz="1400" dirty="0">
                <a:solidFill>
                  <a:schemeClr val="tx2"/>
                </a:solidFill>
              </a:rPr>
              <a:t>Eponges</a:t>
            </a:r>
          </a:p>
          <a:p>
            <a:pPr algn="ctr">
              <a:spcBef>
                <a:spcPts val="400"/>
              </a:spcBef>
            </a:pPr>
            <a:r>
              <a:rPr lang="fr-FR" altLang="fr-FR" sz="1400" dirty="0">
                <a:solidFill>
                  <a:schemeClr val="tx2"/>
                </a:solidFill>
              </a:rPr>
              <a:t>&gt; 80 %</a:t>
            </a:r>
          </a:p>
        </p:txBody>
      </p:sp>
      <p:sp>
        <p:nvSpPr>
          <p:cNvPr id="28" name="AutoShape 60">
            <a:extLst>
              <a:ext uri="{FF2B5EF4-FFF2-40B4-BE49-F238E27FC236}">
                <a16:creationId xmlns:a16="http://schemas.microsoft.com/office/drawing/2014/main" id="{FD5CB140-E508-4790-B715-3145E9081A24}"/>
              </a:ext>
            </a:extLst>
          </p:cNvPr>
          <p:cNvSpPr>
            <a:spLocks noChangeArrowheads="1"/>
          </p:cNvSpPr>
          <p:nvPr/>
        </p:nvSpPr>
        <p:spPr bwMode="auto">
          <a:xfrm rot="5400000">
            <a:off x="1839855" y="1500714"/>
            <a:ext cx="287338" cy="130737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29" name="Text Box 61">
            <a:extLst>
              <a:ext uri="{FF2B5EF4-FFF2-40B4-BE49-F238E27FC236}">
                <a16:creationId xmlns:a16="http://schemas.microsoft.com/office/drawing/2014/main" id="{4F2CD7F7-ED26-4607-A3A3-C8B5FCCB24C5}"/>
              </a:ext>
            </a:extLst>
          </p:cNvPr>
          <p:cNvSpPr txBox="1">
            <a:spLocks noChangeArrowheads="1"/>
          </p:cNvSpPr>
          <p:nvPr/>
        </p:nvSpPr>
        <p:spPr bwMode="auto">
          <a:xfrm>
            <a:off x="1565249" y="2002000"/>
            <a:ext cx="836551"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altLang="fr-FR" sz="1400" dirty="0">
                <a:solidFill>
                  <a:schemeClr val="tx2"/>
                </a:solidFill>
              </a:rPr>
              <a:t>Minerai</a:t>
            </a:r>
          </a:p>
        </p:txBody>
      </p:sp>
      <p:sp>
        <p:nvSpPr>
          <p:cNvPr id="21" name="AutoShape 57">
            <a:extLst>
              <a:ext uri="{FF2B5EF4-FFF2-40B4-BE49-F238E27FC236}">
                <a16:creationId xmlns:a16="http://schemas.microsoft.com/office/drawing/2014/main" id="{1AF6232C-283C-47C6-8777-8F9BD8E36B93}"/>
              </a:ext>
            </a:extLst>
          </p:cNvPr>
          <p:cNvSpPr>
            <a:spLocks noChangeArrowheads="1"/>
          </p:cNvSpPr>
          <p:nvPr/>
        </p:nvSpPr>
        <p:spPr bwMode="auto">
          <a:xfrm rot="5400000">
            <a:off x="2962214" y="3170956"/>
            <a:ext cx="647700" cy="1116013"/>
          </a:xfrm>
          <a:prstGeom prst="roundRect">
            <a:avLst>
              <a:gd name="adj" fmla="val 16667"/>
            </a:avLst>
          </a:prstGeom>
          <a:solidFill>
            <a:srgbClr val="1B9D91"/>
          </a:solidFill>
          <a:ln w="9525">
            <a:solidFill>
              <a:schemeClr val="bg1"/>
            </a:solidFill>
            <a:round/>
            <a:headEnd/>
            <a:tailEnd/>
          </a:ln>
          <a:effectLst/>
        </p:spPr>
        <p:txBody>
          <a:bodyPr wrap="none" anchor="ctr"/>
          <a:lstStyle/>
          <a:p>
            <a:endParaRPr lang="fr-FR"/>
          </a:p>
        </p:txBody>
      </p:sp>
      <p:sp>
        <p:nvSpPr>
          <p:cNvPr id="23" name="Text Box 58">
            <a:extLst>
              <a:ext uri="{FF2B5EF4-FFF2-40B4-BE49-F238E27FC236}">
                <a16:creationId xmlns:a16="http://schemas.microsoft.com/office/drawing/2014/main" id="{931C5DE0-6DAE-4F70-B583-8F04D7F36C86}"/>
              </a:ext>
            </a:extLst>
          </p:cNvPr>
          <p:cNvSpPr txBox="1">
            <a:spLocks noChangeArrowheads="1"/>
          </p:cNvSpPr>
          <p:nvPr/>
        </p:nvSpPr>
        <p:spPr bwMode="auto">
          <a:xfrm>
            <a:off x="2853742" y="3441704"/>
            <a:ext cx="864645"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bg1"/>
                </a:solidFill>
              </a:rPr>
              <a:t>Recyclé</a:t>
            </a:r>
          </a:p>
          <a:p>
            <a:pPr algn="ctr">
              <a:spcBef>
                <a:spcPts val="400"/>
              </a:spcBef>
            </a:pPr>
            <a:r>
              <a:rPr lang="fr-FR" altLang="fr-FR" sz="1400" dirty="0">
                <a:solidFill>
                  <a:schemeClr val="bg1"/>
                </a:solidFill>
              </a:rPr>
              <a:t>&lt; 20 %</a:t>
            </a:r>
          </a:p>
        </p:txBody>
      </p:sp>
      <p:sp>
        <p:nvSpPr>
          <p:cNvPr id="80" name="AutoShape 81">
            <a:extLst>
              <a:ext uri="{FF2B5EF4-FFF2-40B4-BE49-F238E27FC236}">
                <a16:creationId xmlns:a16="http://schemas.microsoft.com/office/drawing/2014/main" id="{0B2C55BB-4E46-42E0-983E-E30B8E1A8163}"/>
              </a:ext>
            </a:extLst>
          </p:cNvPr>
          <p:cNvSpPr>
            <a:spLocks noChangeArrowheads="1"/>
          </p:cNvSpPr>
          <p:nvPr/>
        </p:nvSpPr>
        <p:spPr bwMode="auto">
          <a:xfrm rot="5400000">
            <a:off x="6421380" y="4688728"/>
            <a:ext cx="574675" cy="2376000"/>
          </a:xfrm>
          <a:prstGeom prst="roundRect">
            <a:avLst>
              <a:gd name="adj" fmla="val 16667"/>
            </a:avLst>
          </a:prstGeom>
          <a:solidFill>
            <a:srgbClr val="1B9D91"/>
          </a:solidFill>
          <a:ln w="9525">
            <a:noFill/>
            <a:round/>
            <a:headEnd/>
            <a:tailEnd/>
          </a:ln>
          <a:effectLst/>
        </p:spPr>
        <p:txBody>
          <a:bodyPr wrap="none" anchor="ctr"/>
          <a:lstStyle/>
          <a:p>
            <a:endParaRPr lang="fr-FR"/>
          </a:p>
        </p:txBody>
      </p:sp>
      <p:sp>
        <p:nvSpPr>
          <p:cNvPr id="81" name="Text Box 82">
            <a:extLst>
              <a:ext uri="{FF2B5EF4-FFF2-40B4-BE49-F238E27FC236}">
                <a16:creationId xmlns:a16="http://schemas.microsoft.com/office/drawing/2014/main" id="{F3501F27-2590-419D-94AD-33E87C9FA504}"/>
              </a:ext>
            </a:extLst>
          </p:cNvPr>
          <p:cNvSpPr txBox="1">
            <a:spLocks noChangeArrowheads="1"/>
          </p:cNvSpPr>
          <p:nvPr/>
        </p:nvSpPr>
        <p:spPr bwMode="auto">
          <a:xfrm>
            <a:off x="5625921" y="5602078"/>
            <a:ext cx="2097767"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bg1"/>
                </a:solidFill>
              </a:rPr>
              <a:t>Refusion sous Vide</a:t>
            </a:r>
          </a:p>
          <a:p>
            <a:pPr algn="ctr">
              <a:spcBef>
                <a:spcPts val="400"/>
              </a:spcBef>
            </a:pPr>
            <a:r>
              <a:rPr lang="fr-FR" altLang="fr-FR" sz="1400" dirty="0">
                <a:solidFill>
                  <a:schemeClr val="bg1"/>
                </a:solidFill>
              </a:rPr>
              <a:t>(1 VAR)</a:t>
            </a:r>
          </a:p>
        </p:txBody>
      </p:sp>
      <p:sp>
        <p:nvSpPr>
          <p:cNvPr id="78" name="AutoShape 101">
            <a:extLst>
              <a:ext uri="{FF2B5EF4-FFF2-40B4-BE49-F238E27FC236}">
                <a16:creationId xmlns:a16="http://schemas.microsoft.com/office/drawing/2014/main" id="{41C0536D-E53E-4AD0-9E61-F8BC19FD68C3}"/>
              </a:ext>
            </a:extLst>
          </p:cNvPr>
          <p:cNvSpPr>
            <a:spLocks noChangeArrowheads="1"/>
          </p:cNvSpPr>
          <p:nvPr/>
        </p:nvSpPr>
        <p:spPr bwMode="auto">
          <a:xfrm rot="5400000">
            <a:off x="6421382" y="3663659"/>
            <a:ext cx="574675" cy="2376000"/>
          </a:xfrm>
          <a:prstGeom prst="roundRect">
            <a:avLst>
              <a:gd name="adj" fmla="val 16667"/>
            </a:avLst>
          </a:prstGeom>
          <a:solidFill>
            <a:srgbClr val="1B9D91"/>
          </a:solidFill>
          <a:ln w="9525">
            <a:noFill/>
            <a:round/>
            <a:headEnd/>
            <a:tailEnd/>
          </a:ln>
          <a:effectLst/>
        </p:spPr>
        <p:txBody>
          <a:bodyPr wrap="none" anchor="ctr"/>
          <a:lstStyle/>
          <a:p>
            <a:endParaRPr lang="fr-FR"/>
          </a:p>
        </p:txBody>
      </p:sp>
      <p:sp>
        <p:nvSpPr>
          <p:cNvPr id="79" name="Text Box 102">
            <a:extLst>
              <a:ext uri="{FF2B5EF4-FFF2-40B4-BE49-F238E27FC236}">
                <a16:creationId xmlns:a16="http://schemas.microsoft.com/office/drawing/2014/main" id="{000105B8-2CB2-4621-A02F-BC18CCB9E414}"/>
              </a:ext>
            </a:extLst>
          </p:cNvPr>
          <p:cNvSpPr txBox="1">
            <a:spLocks noChangeArrowheads="1"/>
          </p:cNvSpPr>
          <p:nvPr/>
        </p:nvSpPr>
        <p:spPr bwMode="auto">
          <a:xfrm>
            <a:off x="5683084" y="4564401"/>
            <a:ext cx="1908175"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ts val="400"/>
              </a:spcBef>
            </a:pPr>
            <a:r>
              <a:rPr lang="fr-FR" altLang="fr-FR" sz="1400" dirty="0">
                <a:solidFill>
                  <a:schemeClr val="bg1"/>
                </a:solidFill>
              </a:rPr>
              <a:t>1</a:t>
            </a:r>
            <a:r>
              <a:rPr lang="fr-FR" altLang="fr-FR" sz="1400" baseline="30000" dirty="0">
                <a:solidFill>
                  <a:schemeClr val="bg1"/>
                </a:solidFill>
              </a:rPr>
              <a:t>ère</a:t>
            </a:r>
            <a:r>
              <a:rPr lang="fr-FR" altLang="fr-FR" sz="1400" dirty="0">
                <a:solidFill>
                  <a:schemeClr val="bg1"/>
                </a:solidFill>
              </a:rPr>
              <a:t> refusion</a:t>
            </a:r>
          </a:p>
          <a:p>
            <a:pPr algn="ctr">
              <a:spcBef>
                <a:spcPts val="400"/>
              </a:spcBef>
            </a:pPr>
            <a:r>
              <a:rPr lang="fr-FR" altLang="fr-FR" sz="1400" dirty="0">
                <a:solidFill>
                  <a:schemeClr val="bg1"/>
                </a:solidFill>
              </a:rPr>
              <a:t>= Four PAMCHR</a:t>
            </a:r>
          </a:p>
        </p:txBody>
      </p:sp>
      <p:pic>
        <p:nvPicPr>
          <p:cNvPr id="83" name="Image 82">
            <a:extLst>
              <a:ext uri="{FF2B5EF4-FFF2-40B4-BE49-F238E27FC236}">
                <a16:creationId xmlns:a16="http://schemas.microsoft.com/office/drawing/2014/main" id="{B564526A-45AE-4C74-894A-2877A427773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706139" y="965377"/>
            <a:ext cx="1744808" cy="705599"/>
          </a:xfrm>
          <a:prstGeom prst="rect">
            <a:avLst/>
          </a:prstGeom>
        </p:spPr>
      </p:pic>
      <p:grpSp>
        <p:nvGrpSpPr>
          <p:cNvPr id="97" name="Arrow32" descr="{&quot;Key&quot;:&quot;POWER_USER_SHAPE_ICON&quot;,&quot;Value&quot;:&quot;POWER_USER_SHAPE_ICON_STYLE_1&quot;}">
            <a:extLst>
              <a:ext uri="{FF2B5EF4-FFF2-40B4-BE49-F238E27FC236}">
                <a16:creationId xmlns:a16="http://schemas.microsoft.com/office/drawing/2014/main" id="{BDEB18E1-754D-4594-A3D0-5500134C53C3}"/>
              </a:ext>
            </a:extLst>
          </p:cNvPr>
          <p:cNvGrpSpPr>
            <a:grpSpLocks noChangeAspect="1"/>
          </p:cNvGrpSpPr>
          <p:nvPr/>
        </p:nvGrpSpPr>
        <p:grpSpPr>
          <a:xfrm rot="5400000">
            <a:off x="3182588" y="4202585"/>
            <a:ext cx="206952" cy="180000"/>
            <a:chOff x="1412032" y="2732632"/>
            <a:chExt cx="1016496" cy="884112"/>
          </a:xfrm>
          <a:solidFill>
            <a:srgbClr val="1BAE8F"/>
          </a:solidFill>
        </p:grpSpPr>
        <p:sp>
          <p:nvSpPr>
            <p:cNvPr id="98" name="Chevron 177">
              <a:extLst>
                <a:ext uri="{FF2B5EF4-FFF2-40B4-BE49-F238E27FC236}">
                  <a16:creationId xmlns:a16="http://schemas.microsoft.com/office/drawing/2014/main" id="{97593A4C-38BE-4EC1-B0F3-266B2A7D9E26}"/>
                </a:ext>
              </a:extLst>
            </p:cNvPr>
            <p:cNvSpPr/>
            <p:nvPr/>
          </p:nvSpPr>
          <p:spPr>
            <a:xfrm>
              <a:off x="1412032" y="2732632"/>
              <a:ext cx="576064" cy="884112"/>
            </a:xfrm>
            <a:prstGeom prst="chevron">
              <a:avLst>
                <a:gd name="adj" fmla="val 56184"/>
              </a:avLst>
            </a:prstGeom>
            <a:solidFill>
              <a:srgbClr val="1BAE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Chevron 178">
              <a:extLst>
                <a:ext uri="{FF2B5EF4-FFF2-40B4-BE49-F238E27FC236}">
                  <a16:creationId xmlns:a16="http://schemas.microsoft.com/office/drawing/2014/main" id="{E17E6246-85F5-40A5-9C23-67A612210616}"/>
                </a:ext>
              </a:extLst>
            </p:cNvPr>
            <p:cNvSpPr/>
            <p:nvPr/>
          </p:nvSpPr>
          <p:spPr>
            <a:xfrm>
              <a:off x="1852464" y="2732632"/>
              <a:ext cx="576064" cy="884112"/>
            </a:xfrm>
            <a:prstGeom prst="chevron">
              <a:avLst>
                <a:gd name="adj" fmla="val 56184"/>
              </a:avLst>
            </a:prstGeom>
            <a:solidFill>
              <a:srgbClr val="1BAE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6" name="Arrow32" descr="{&quot;Key&quot;:&quot;POWER_USER_SHAPE_ICON&quot;,&quot;Value&quot;:&quot;POWER_USER_SHAPE_ICON_STYLE_1&quot;}">
            <a:extLst>
              <a:ext uri="{FF2B5EF4-FFF2-40B4-BE49-F238E27FC236}">
                <a16:creationId xmlns:a16="http://schemas.microsoft.com/office/drawing/2014/main" id="{8D7814E3-18C0-441C-82EE-04AB5AAA0CC3}"/>
              </a:ext>
            </a:extLst>
          </p:cNvPr>
          <p:cNvGrpSpPr>
            <a:grpSpLocks noChangeAspect="1"/>
          </p:cNvGrpSpPr>
          <p:nvPr/>
        </p:nvGrpSpPr>
        <p:grpSpPr>
          <a:xfrm rot="5400000">
            <a:off x="6661329" y="5261458"/>
            <a:ext cx="206952" cy="180000"/>
            <a:chOff x="1412032" y="2732632"/>
            <a:chExt cx="1016496" cy="884112"/>
          </a:xfrm>
          <a:solidFill>
            <a:srgbClr val="1BAE8F"/>
          </a:solidFill>
        </p:grpSpPr>
        <p:sp>
          <p:nvSpPr>
            <p:cNvPr id="107" name="Chevron 177">
              <a:extLst>
                <a:ext uri="{FF2B5EF4-FFF2-40B4-BE49-F238E27FC236}">
                  <a16:creationId xmlns:a16="http://schemas.microsoft.com/office/drawing/2014/main" id="{A50B21B7-AB8B-48D4-B2D8-8029DF55BCEB}"/>
                </a:ext>
              </a:extLst>
            </p:cNvPr>
            <p:cNvSpPr/>
            <p:nvPr/>
          </p:nvSpPr>
          <p:spPr>
            <a:xfrm>
              <a:off x="1412032"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Chevron 178">
              <a:extLst>
                <a:ext uri="{FF2B5EF4-FFF2-40B4-BE49-F238E27FC236}">
                  <a16:creationId xmlns:a16="http://schemas.microsoft.com/office/drawing/2014/main" id="{F13C5750-AC19-4036-A209-554B4AFFAD8D}"/>
                </a:ext>
              </a:extLst>
            </p:cNvPr>
            <p:cNvSpPr/>
            <p:nvPr/>
          </p:nvSpPr>
          <p:spPr>
            <a:xfrm>
              <a:off x="1852464"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2" name="Arrow32" descr="{&quot;Key&quot;:&quot;POWER_USER_SHAPE_ICON&quot;,&quot;Value&quot;:&quot;POWER_USER_SHAPE_ICON_STYLE_1&quot;}">
            <a:extLst>
              <a:ext uri="{FF2B5EF4-FFF2-40B4-BE49-F238E27FC236}">
                <a16:creationId xmlns:a16="http://schemas.microsoft.com/office/drawing/2014/main" id="{D2FF5957-55CA-4575-8B16-6D31C9FEC31F}"/>
              </a:ext>
            </a:extLst>
          </p:cNvPr>
          <p:cNvGrpSpPr>
            <a:grpSpLocks noChangeAspect="1"/>
          </p:cNvGrpSpPr>
          <p:nvPr/>
        </p:nvGrpSpPr>
        <p:grpSpPr>
          <a:xfrm rot="5400000">
            <a:off x="1880048" y="2401648"/>
            <a:ext cx="206952" cy="180000"/>
            <a:chOff x="1412032" y="2732632"/>
            <a:chExt cx="1016496" cy="884112"/>
          </a:xfrm>
          <a:solidFill>
            <a:srgbClr val="1BAE8F"/>
          </a:solidFill>
        </p:grpSpPr>
        <p:sp>
          <p:nvSpPr>
            <p:cNvPr id="113" name="Chevron 177">
              <a:extLst>
                <a:ext uri="{FF2B5EF4-FFF2-40B4-BE49-F238E27FC236}">
                  <a16:creationId xmlns:a16="http://schemas.microsoft.com/office/drawing/2014/main" id="{16CCDE81-0ECF-45A5-8343-6ED5EB42C624}"/>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Chevron 178">
              <a:extLst>
                <a:ext uri="{FF2B5EF4-FFF2-40B4-BE49-F238E27FC236}">
                  <a16:creationId xmlns:a16="http://schemas.microsoft.com/office/drawing/2014/main" id="{32F7DAC8-EFA7-4718-A099-C5E6F2E51362}"/>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5" name="Arrow32" descr="{&quot;Key&quot;:&quot;POWER_USER_SHAPE_ICON&quot;,&quot;Value&quot;:&quot;POWER_USER_SHAPE_ICON_STYLE_1&quot;}">
            <a:extLst>
              <a:ext uri="{FF2B5EF4-FFF2-40B4-BE49-F238E27FC236}">
                <a16:creationId xmlns:a16="http://schemas.microsoft.com/office/drawing/2014/main" id="{319FB953-A926-449E-B5DE-9BFD443C69FA}"/>
              </a:ext>
            </a:extLst>
          </p:cNvPr>
          <p:cNvGrpSpPr>
            <a:grpSpLocks noChangeAspect="1"/>
          </p:cNvGrpSpPr>
          <p:nvPr/>
        </p:nvGrpSpPr>
        <p:grpSpPr>
          <a:xfrm rot="5400000">
            <a:off x="1890937" y="4202584"/>
            <a:ext cx="206952" cy="180000"/>
            <a:chOff x="1412032" y="2732632"/>
            <a:chExt cx="1016496" cy="884112"/>
          </a:xfrm>
          <a:solidFill>
            <a:srgbClr val="1BAE8F"/>
          </a:solidFill>
        </p:grpSpPr>
        <p:sp>
          <p:nvSpPr>
            <p:cNvPr id="116" name="Chevron 177">
              <a:extLst>
                <a:ext uri="{FF2B5EF4-FFF2-40B4-BE49-F238E27FC236}">
                  <a16:creationId xmlns:a16="http://schemas.microsoft.com/office/drawing/2014/main" id="{C47C9857-A6CE-4544-A11B-661945488BBE}"/>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Chevron 178">
              <a:extLst>
                <a:ext uri="{FF2B5EF4-FFF2-40B4-BE49-F238E27FC236}">
                  <a16:creationId xmlns:a16="http://schemas.microsoft.com/office/drawing/2014/main" id="{DA144D82-8DED-41BE-B34E-36417484A79F}"/>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6" name="AutoShape 11">
            <a:extLst>
              <a:ext uri="{FF2B5EF4-FFF2-40B4-BE49-F238E27FC236}">
                <a16:creationId xmlns:a16="http://schemas.microsoft.com/office/drawing/2014/main" id="{6FD942DB-BC94-4EC1-AA4D-E89159E294CD}"/>
              </a:ext>
            </a:extLst>
          </p:cNvPr>
          <p:cNvSpPr>
            <a:spLocks noChangeArrowheads="1"/>
          </p:cNvSpPr>
          <p:nvPr/>
        </p:nvSpPr>
        <p:spPr bwMode="auto">
          <a:xfrm rot="5400000">
            <a:off x="5707311" y="3185797"/>
            <a:ext cx="647700" cy="1116013"/>
          </a:xfrm>
          <a:prstGeom prst="roundRect">
            <a:avLst>
              <a:gd name="adj" fmla="val 16667"/>
            </a:avLst>
          </a:prstGeom>
          <a:solidFill>
            <a:srgbClr val="1B9D91"/>
          </a:solidFill>
          <a:ln w="9525">
            <a:solidFill>
              <a:schemeClr val="bg1"/>
            </a:solidFill>
            <a:round/>
            <a:headEnd/>
            <a:tailEnd/>
          </a:ln>
          <a:effectLst/>
        </p:spPr>
        <p:txBody>
          <a:bodyPr wrap="none" anchor="ctr"/>
          <a:lstStyle/>
          <a:p>
            <a:endParaRPr lang="fr-FR"/>
          </a:p>
        </p:txBody>
      </p:sp>
      <p:sp>
        <p:nvSpPr>
          <p:cNvPr id="127" name="Text Box 12">
            <a:extLst>
              <a:ext uri="{FF2B5EF4-FFF2-40B4-BE49-F238E27FC236}">
                <a16:creationId xmlns:a16="http://schemas.microsoft.com/office/drawing/2014/main" id="{953DD88A-9493-4988-BC46-E1419B62CCCF}"/>
              </a:ext>
            </a:extLst>
          </p:cNvPr>
          <p:cNvSpPr txBox="1">
            <a:spLocks noChangeArrowheads="1"/>
          </p:cNvSpPr>
          <p:nvPr/>
        </p:nvSpPr>
        <p:spPr bwMode="auto">
          <a:xfrm>
            <a:off x="5473155" y="3456545"/>
            <a:ext cx="1116013"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ts val="400"/>
              </a:spcBef>
            </a:pPr>
            <a:r>
              <a:rPr lang="fr-FR" altLang="fr-FR" sz="1400" dirty="0">
                <a:solidFill>
                  <a:schemeClr val="bg1"/>
                </a:solidFill>
              </a:rPr>
              <a:t>Recyclés</a:t>
            </a:r>
          </a:p>
          <a:p>
            <a:pPr algn="ctr">
              <a:spcBef>
                <a:spcPts val="400"/>
              </a:spcBef>
            </a:pPr>
            <a:r>
              <a:rPr lang="fr-FR" altLang="fr-FR" sz="1400" dirty="0">
                <a:solidFill>
                  <a:schemeClr val="bg1"/>
                </a:solidFill>
              </a:rPr>
              <a:t>&gt; 70 %</a:t>
            </a:r>
          </a:p>
        </p:txBody>
      </p:sp>
      <p:sp>
        <p:nvSpPr>
          <p:cNvPr id="130" name="AutoShape 57">
            <a:extLst>
              <a:ext uri="{FF2B5EF4-FFF2-40B4-BE49-F238E27FC236}">
                <a16:creationId xmlns:a16="http://schemas.microsoft.com/office/drawing/2014/main" id="{53DE7F82-95FA-4EF5-9E10-CF3D02F1BEB6}"/>
              </a:ext>
            </a:extLst>
          </p:cNvPr>
          <p:cNvSpPr>
            <a:spLocks noChangeArrowheads="1"/>
          </p:cNvSpPr>
          <p:nvPr/>
        </p:nvSpPr>
        <p:spPr bwMode="auto">
          <a:xfrm rot="5400000">
            <a:off x="6998962" y="3185797"/>
            <a:ext cx="647700" cy="1116013"/>
          </a:xfrm>
          <a:prstGeom prst="roundRect">
            <a:avLst>
              <a:gd name="adj" fmla="val 16667"/>
            </a:avLst>
          </a:prstGeom>
          <a:noFill/>
          <a:ln w="9525">
            <a:solidFill>
              <a:schemeClr val="accent5">
                <a:lumMod val="50000"/>
              </a:schemeClr>
            </a:solidFill>
            <a:round/>
            <a:headEnd/>
            <a:tailEnd/>
          </a:ln>
          <a:effectLst/>
        </p:spPr>
        <p:txBody>
          <a:bodyPr wrap="none" anchor="ctr"/>
          <a:lstStyle/>
          <a:p>
            <a:endParaRPr lang="fr-FR"/>
          </a:p>
        </p:txBody>
      </p:sp>
      <p:sp>
        <p:nvSpPr>
          <p:cNvPr id="131" name="Text Box 58">
            <a:extLst>
              <a:ext uri="{FF2B5EF4-FFF2-40B4-BE49-F238E27FC236}">
                <a16:creationId xmlns:a16="http://schemas.microsoft.com/office/drawing/2014/main" id="{A29BAD53-1041-431E-A26A-31870D02C249}"/>
              </a:ext>
            </a:extLst>
          </p:cNvPr>
          <p:cNvSpPr txBox="1">
            <a:spLocks noChangeArrowheads="1"/>
          </p:cNvSpPr>
          <p:nvPr/>
        </p:nvSpPr>
        <p:spPr bwMode="auto">
          <a:xfrm>
            <a:off x="6890490" y="3456545"/>
            <a:ext cx="905643" cy="574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400"/>
              </a:spcBef>
            </a:pPr>
            <a:r>
              <a:rPr lang="fr-FR" altLang="fr-FR" sz="1400" dirty="0">
                <a:solidFill>
                  <a:schemeClr val="tx2"/>
                </a:solidFill>
              </a:rPr>
              <a:t>Eponges</a:t>
            </a:r>
          </a:p>
          <a:p>
            <a:pPr algn="ctr">
              <a:spcBef>
                <a:spcPts val="400"/>
              </a:spcBef>
            </a:pPr>
            <a:r>
              <a:rPr lang="fr-FR" altLang="fr-FR" sz="1400" dirty="0">
                <a:solidFill>
                  <a:schemeClr val="tx2"/>
                </a:solidFill>
              </a:rPr>
              <a:t>&lt; 30 %</a:t>
            </a:r>
          </a:p>
        </p:txBody>
      </p:sp>
      <p:grpSp>
        <p:nvGrpSpPr>
          <p:cNvPr id="132" name="Arrow32" descr="{&quot;Key&quot;:&quot;POWER_USER_SHAPE_ICON&quot;,&quot;Value&quot;:&quot;POWER_USER_SHAPE_ICON_STYLE_1&quot;}">
            <a:extLst>
              <a:ext uri="{FF2B5EF4-FFF2-40B4-BE49-F238E27FC236}">
                <a16:creationId xmlns:a16="http://schemas.microsoft.com/office/drawing/2014/main" id="{970FE2FC-EDB2-4DE6-8CE9-FDECFD9F35FD}"/>
              </a:ext>
            </a:extLst>
          </p:cNvPr>
          <p:cNvGrpSpPr>
            <a:grpSpLocks noChangeAspect="1"/>
          </p:cNvGrpSpPr>
          <p:nvPr/>
        </p:nvGrpSpPr>
        <p:grpSpPr>
          <a:xfrm rot="5400000">
            <a:off x="7219336" y="4217425"/>
            <a:ext cx="206952" cy="180000"/>
            <a:chOff x="1412032" y="2732632"/>
            <a:chExt cx="1016496" cy="884112"/>
          </a:xfrm>
          <a:solidFill>
            <a:schemeClr val="accent5">
              <a:lumMod val="50000"/>
            </a:schemeClr>
          </a:solidFill>
        </p:grpSpPr>
        <p:sp>
          <p:nvSpPr>
            <p:cNvPr id="133" name="Chevron 177">
              <a:extLst>
                <a:ext uri="{FF2B5EF4-FFF2-40B4-BE49-F238E27FC236}">
                  <a16:creationId xmlns:a16="http://schemas.microsoft.com/office/drawing/2014/main" id="{189A44FD-6666-4A1C-ABDA-A705760D8A86}"/>
                </a:ext>
              </a:extLst>
            </p:cNvPr>
            <p:cNvSpPr/>
            <p:nvPr/>
          </p:nvSpPr>
          <p:spPr>
            <a:xfrm>
              <a:off x="1412032"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Chevron 178">
              <a:extLst>
                <a:ext uri="{FF2B5EF4-FFF2-40B4-BE49-F238E27FC236}">
                  <a16:creationId xmlns:a16="http://schemas.microsoft.com/office/drawing/2014/main" id="{3E96CCA9-FDA0-4384-8471-04FF428D5986}"/>
                </a:ext>
              </a:extLst>
            </p:cNvPr>
            <p:cNvSpPr/>
            <p:nvPr/>
          </p:nvSpPr>
          <p:spPr>
            <a:xfrm>
              <a:off x="1852464"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8" name="Arrow32" descr="{&quot;Key&quot;:&quot;POWER_USER_SHAPE_ICON&quot;,&quot;Value&quot;:&quot;POWER_USER_SHAPE_ICON_STYLE_1&quot;}">
            <a:extLst>
              <a:ext uri="{FF2B5EF4-FFF2-40B4-BE49-F238E27FC236}">
                <a16:creationId xmlns:a16="http://schemas.microsoft.com/office/drawing/2014/main" id="{66B88C85-EDF1-4320-981F-8D1EC2EBBB34}"/>
              </a:ext>
            </a:extLst>
          </p:cNvPr>
          <p:cNvGrpSpPr>
            <a:grpSpLocks noChangeAspect="1"/>
          </p:cNvGrpSpPr>
          <p:nvPr/>
        </p:nvGrpSpPr>
        <p:grpSpPr>
          <a:xfrm rot="5400000">
            <a:off x="5927685" y="4217425"/>
            <a:ext cx="206952" cy="180000"/>
            <a:chOff x="1412032" y="2732632"/>
            <a:chExt cx="1016496" cy="884112"/>
          </a:xfrm>
          <a:solidFill>
            <a:srgbClr val="1BAE8F"/>
          </a:solidFill>
        </p:grpSpPr>
        <p:sp>
          <p:nvSpPr>
            <p:cNvPr id="139" name="Chevron 177">
              <a:extLst>
                <a:ext uri="{FF2B5EF4-FFF2-40B4-BE49-F238E27FC236}">
                  <a16:creationId xmlns:a16="http://schemas.microsoft.com/office/drawing/2014/main" id="{B1CEE678-EA81-4200-A8F2-32FADB10D8EA}"/>
                </a:ext>
              </a:extLst>
            </p:cNvPr>
            <p:cNvSpPr/>
            <p:nvPr/>
          </p:nvSpPr>
          <p:spPr>
            <a:xfrm>
              <a:off x="1412032"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Chevron 178">
              <a:extLst>
                <a:ext uri="{FF2B5EF4-FFF2-40B4-BE49-F238E27FC236}">
                  <a16:creationId xmlns:a16="http://schemas.microsoft.com/office/drawing/2014/main" id="{A099AAFB-6DA2-462B-AB0B-8894120F5B7E}"/>
                </a:ext>
              </a:extLst>
            </p:cNvPr>
            <p:cNvSpPr/>
            <p:nvPr/>
          </p:nvSpPr>
          <p:spPr>
            <a:xfrm>
              <a:off x="1852464" y="2732632"/>
              <a:ext cx="576064" cy="884112"/>
            </a:xfrm>
            <a:prstGeom prst="chevron">
              <a:avLst>
                <a:gd name="adj" fmla="val 56184"/>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2" name="AutoShape 60">
            <a:extLst>
              <a:ext uri="{FF2B5EF4-FFF2-40B4-BE49-F238E27FC236}">
                <a16:creationId xmlns:a16="http://schemas.microsoft.com/office/drawing/2014/main" id="{18945B62-E263-435B-BFFA-2A6C85A87957}"/>
              </a:ext>
            </a:extLst>
          </p:cNvPr>
          <p:cNvSpPr>
            <a:spLocks noChangeArrowheads="1"/>
          </p:cNvSpPr>
          <p:nvPr/>
        </p:nvSpPr>
        <p:spPr bwMode="auto">
          <a:xfrm rot="5400000">
            <a:off x="1839855" y="2173622"/>
            <a:ext cx="287338" cy="1307375"/>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143" name="Text Box 61">
            <a:extLst>
              <a:ext uri="{FF2B5EF4-FFF2-40B4-BE49-F238E27FC236}">
                <a16:creationId xmlns:a16="http://schemas.microsoft.com/office/drawing/2014/main" id="{2C00DB42-AEE9-42DB-995D-060A2A6F9E33}"/>
              </a:ext>
            </a:extLst>
          </p:cNvPr>
          <p:cNvSpPr txBox="1">
            <a:spLocks noChangeArrowheads="1"/>
          </p:cNvSpPr>
          <p:nvPr/>
        </p:nvSpPr>
        <p:spPr bwMode="auto">
          <a:xfrm>
            <a:off x="1357355" y="2673421"/>
            <a:ext cx="125233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fr-FR" altLang="fr-FR" sz="1400" dirty="0">
                <a:solidFill>
                  <a:schemeClr val="tx2"/>
                </a:solidFill>
              </a:rPr>
              <a:t>Procédé Kroll</a:t>
            </a:r>
          </a:p>
        </p:txBody>
      </p:sp>
      <p:grpSp>
        <p:nvGrpSpPr>
          <p:cNvPr id="144" name="Arrow32" descr="{&quot;Key&quot;:&quot;POWER_USER_SHAPE_ICON&quot;,&quot;Value&quot;:&quot;POWER_USER_SHAPE_ICON_STYLE_1&quot;}">
            <a:extLst>
              <a:ext uri="{FF2B5EF4-FFF2-40B4-BE49-F238E27FC236}">
                <a16:creationId xmlns:a16="http://schemas.microsoft.com/office/drawing/2014/main" id="{9048A792-0CE1-4204-B90B-2F0903C84C6E}"/>
              </a:ext>
            </a:extLst>
          </p:cNvPr>
          <p:cNvGrpSpPr>
            <a:grpSpLocks noChangeAspect="1"/>
          </p:cNvGrpSpPr>
          <p:nvPr/>
        </p:nvGrpSpPr>
        <p:grpSpPr>
          <a:xfrm rot="5400000">
            <a:off x="1880048" y="3124303"/>
            <a:ext cx="206952" cy="180000"/>
            <a:chOff x="1412032" y="2732632"/>
            <a:chExt cx="1016496" cy="884112"/>
          </a:xfrm>
          <a:solidFill>
            <a:srgbClr val="1BAE8F"/>
          </a:solidFill>
        </p:grpSpPr>
        <p:sp>
          <p:nvSpPr>
            <p:cNvPr id="145" name="Chevron 177">
              <a:extLst>
                <a:ext uri="{FF2B5EF4-FFF2-40B4-BE49-F238E27FC236}">
                  <a16:creationId xmlns:a16="http://schemas.microsoft.com/office/drawing/2014/main" id="{2EB352F2-5F06-4782-B63F-9FCE1F08DBD5}"/>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Chevron 178">
              <a:extLst>
                <a:ext uri="{FF2B5EF4-FFF2-40B4-BE49-F238E27FC236}">
                  <a16:creationId xmlns:a16="http://schemas.microsoft.com/office/drawing/2014/main" id="{3D1A3445-0A78-4742-A064-2FF6972C1F5D}"/>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7" name="AutoShape 60">
            <a:extLst>
              <a:ext uri="{FF2B5EF4-FFF2-40B4-BE49-F238E27FC236}">
                <a16:creationId xmlns:a16="http://schemas.microsoft.com/office/drawing/2014/main" id="{783B3FE7-A9E3-4BEB-98C4-E17C9A2F3779}"/>
              </a:ext>
            </a:extLst>
          </p:cNvPr>
          <p:cNvSpPr>
            <a:spLocks noChangeArrowheads="1"/>
          </p:cNvSpPr>
          <p:nvPr/>
        </p:nvSpPr>
        <p:spPr bwMode="auto">
          <a:xfrm rot="5400000">
            <a:off x="7186239" y="1515555"/>
            <a:ext cx="287338" cy="1307373"/>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148" name="Text Box 61">
            <a:extLst>
              <a:ext uri="{FF2B5EF4-FFF2-40B4-BE49-F238E27FC236}">
                <a16:creationId xmlns:a16="http://schemas.microsoft.com/office/drawing/2014/main" id="{1C628F66-047C-4589-AC58-955098EAFD32}"/>
              </a:ext>
            </a:extLst>
          </p:cNvPr>
          <p:cNvSpPr txBox="1">
            <a:spLocks noChangeArrowheads="1"/>
          </p:cNvSpPr>
          <p:nvPr/>
        </p:nvSpPr>
        <p:spPr bwMode="auto">
          <a:xfrm>
            <a:off x="6911633" y="2016841"/>
            <a:ext cx="836551"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altLang="fr-FR" sz="1400" dirty="0">
                <a:solidFill>
                  <a:schemeClr val="tx2"/>
                </a:solidFill>
              </a:rPr>
              <a:t>Minerai</a:t>
            </a:r>
          </a:p>
        </p:txBody>
      </p:sp>
      <p:grpSp>
        <p:nvGrpSpPr>
          <p:cNvPr id="149" name="Arrow32" descr="{&quot;Key&quot;:&quot;POWER_USER_SHAPE_ICON&quot;,&quot;Value&quot;:&quot;POWER_USER_SHAPE_ICON_STYLE_1&quot;}">
            <a:extLst>
              <a:ext uri="{FF2B5EF4-FFF2-40B4-BE49-F238E27FC236}">
                <a16:creationId xmlns:a16="http://schemas.microsoft.com/office/drawing/2014/main" id="{535E9C34-2DFA-4596-8A02-267FDB458CBF}"/>
              </a:ext>
            </a:extLst>
          </p:cNvPr>
          <p:cNvGrpSpPr>
            <a:grpSpLocks noChangeAspect="1"/>
          </p:cNvGrpSpPr>
          <p:nvPr/>
        </p:nvGrpSpPr>
        <p:grpSpPr>
          <a:xfrm rot="5400000">
            <a:off x="7226432" y="2416489"/>
            <a:ext cx="206952" cy="180000"/>
            <a:chOff x="1412032" y="2732632"/>
            <a:chExt cx="1016496" cy="884112"/>
          </a:xfrm>
          <a:solidFill>
            <a:srgbClr val="1BAE8F"/>
          </a:solidFill>
        </p:grpSpPr>
        <p:sp>
          <p:nvSpPr>
            <p:cNvPr id="150" name="Chevron 177">
              <a:extLst>
                <a:ext uri="{FF2B5EF4-FFF2-40B4-BE49-F238E27FC236}">
                  <a16:creationId xmlns:a16="http://schemas.microsoft.com/office/drawing/2014/main" id="{015C46EE-6296-45BB-B58C-085140C47FF5}"/>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Chevron 178">
              <a:extLst>
                <a:ext uri="{FF2B5EF4-FFF2-40B4-BE49-F238E27FC236}">
                  <a16:creationId xmlns:a16="http://schemas.microsoft.com/office/drawing/2014/main" id="{23DD52B1-8359-4015-84C7-855E5367A644}"/>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2" name="AutoShape 60">
            <a:extLst>
              <a:ext uri="{FF2B5EF4-FFF2-40B4-BE49-F238E27FC236}">
                <a16:creationId xmlns:a16="http://schemas.microsoft.com/office/drawing/2014/main" id="{8F263C56-00F3-427C-AF72-59AA3C9AA821}"/>
              </a:ext>
            </a:extLst>
          </p:cNvPr>
          <p:cNvSpPr>
            <a:spLocks noChangeArrowheads="1"/>
          </p:cNvSpPr>
          <p:nvPr/>
        </p:nvSpPr>
        <p:spPr bwMode="auto">
          <a:xfrm rot="5400000">
            <a:off x="7186239" y="2188463"/>
            <a:ext cx="287338" cy="1307375"/>
          </a:xfrm>
          <a:prstGeom prst="roundRect">
            <a:avLst>
              <a:gd name="adj" fmla="val 16667"/>
            </a:avLst>
          </a:prstGeom>
          <a:solidFill>
            <a:schemeClr val="bg1"/>
          </a:solidFill>
          <a:ln w="9525">
            <a:solidFill>
              <a:schemeClr val="tx1"/>
            </a:solidFill>
            <a:round/>
            <a:headEnd/>
            <a:tailEnd/>
          </a:ln>
          <a:effectLst/>
        </p:spPr>
        <p:txBody>
          <a:bodyPr wrap="none" anchor="ctr"/>
          <a:lstStyle/>
          <a:p>
            <a:endParaRPr lang="fr-FR">
              <a:solidFill>
                <a:schemeClr val="tx2"/>
              </a:solidFill>
            </a:endParaRPr>
          </a:p>
        </p:txBody>
      </p:sp>
      <p:sp>
        <p:nvSpPr>
          <p:cNvPr id="153" name="Text Box 61">
            <a:extLst>
              <a:ext uri="{FF2B5EF4-FFF2-40B4-BE49-F238E27FC236}">
                <a16:creationId xmlns:a16="http://schemas.microsoft.com/office/drawing/2014/main" id="{7042E9C7-97E9-4C88-BB5C-C896A543A126}"/>
              </a:ext>
            </a:extLst>
          </p:cNvPr>
          <p:cNvSpPr txBox="1">
            <a:spLocks noChangeArrowheads="1"/>
          </p:cNvSpPr>
          <p:nvPr/>
        </p:nvSpPr>
        <p:spPr bwMode="auto">
          <a:xfrm>
            <a:off x="6703739" y="2688262"/>
            <a:ext cx="125233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fr-FR" altLang="fr-FR" sz="1400" dirty="0">
                <a:solidFill>
                  <a:schemeClr val="tx2"/>
                </a:solidFill>
              </a:rPr>
              <a:t>Procédé Kroll</a:t>
            </a:r>
          </a:p>
        </p:txBody>
      </p:sp>
      <p:grpSp>
        <p:nvGrpSpPr>
          <p:cNvPr id="154" name="Arrow32" descr="{&quot;Key&quot;:&quot;POWER_USER_SHAPE_ICON&quot;,&quot;Value&quot;:&quot;POWER_USER_SHAPE_ICON_STYLE_1&quot;}">
            <a:extLst>
              <a:ext uri="{FF2B5EF4-FFF2-40B4-BE49-F238E27FC236}">
                <a16:creationId xmlns:a16="http://schemas.microsoft.com/office/drawing/2014/main" id="{2ADB5A11-E2F7-480A-B374-D4E6F8DF1E9B}"/>
              </a:ext>
            </a:extLst>
          </p:cNvPr>
          <p:cNvGrpSpPr>
            <a:grpSpLocks noChangeAspect="1"/>
          </p:cNvGrpSpPr>
          <p:nvPr/>
        </p:nvGrpSpPr>
        <p:grpSpPr>
          <a:xfrm rot="5400000">
            <a:off x="7226432" y="3139144"/>
            <a:ext cx="206952" cy="180000"/>
            <a:chOff x="1412032" y="2732632"/>
            <a:chExt cx="1016496" cy="884112"/>
          </a:xfrm>
          <a:solidFill>
            <a:srgbClr val="1BAE8F"/>
          </a:solidFill>
        </p:grpSpPr>
        <p:sp>
          <p:nvSpPr>
            <p:cNvPr id="155" name="Chevron 177">
              <a:extLst>
                <a:ext uri="{FF2B5EF4-FFF2-40B4-BE49-F238E27FC236}">
                  <a16:creationId xmlns:a16="http://schemas.microsoft.com/office/drawing/2014/main" id="{D505E1B9-8501-48EE-AF99-4E1780DDE4F9}"/>
                </a:ext>
              </a:extLst>
            </p:cNvPr>
            <p:cNvSpPr/>
            <p:nvPr/>
          </p:nvSpPr>
          <p:spPr>
            <a:xfrm>
              <a:off x="1412032"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Chevron 178">
              <a:extLst>
                <a:ext uri="{FF2B5EF4-FFF2-40B4-BE49-F238E27FC236}">
                  <a16:creationId xmlns:a16="http://schemas.microsoft.com/office/drawing/2014/main" id="{20B7286B-E9FC-4278-ADDD-F3C7EA446608}"/>
                </a:ext>
              </a:extLst>
            </p:cNvPr>
            <p:cNvSpPr/>
            <p:nvPr/>
          </p:nvSpPr>
          <p:spPr>
            <a:xfrm>
              <a:off x="1852464" y="2732632"/>
              <a:ext cx="576064" cy="884112"/>
            </a:xfrm>
            <a:prstGeom prst="chevron">
              <a:avLst>
                <a:gd name="adj" fmla="val 56184"/>
              </a:avLst>
            </a:prstGeom>
            <a:solidFill>
              <a:schemeClr val="accent5">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5" name="Rectangle 164">
            <a:extLst>
              <a:ext uri="{FF2B5EF4-FFF2-40B4-BE49-F238E27FC236}">
                <a16:creationId xmlns:a16="http://schemas.microsoft.com/office/drawing/2014/main" id="{A5FB8301-C41B-42B2-B024-9622DA2073B5}"/>
              </a:ext>
            </a:extLst>
          </p:cNvPr>
          <p:cNvSpPr/>
          <p:nvPr/>
        </p:nvSpPr>
        <p:spPr>
          <a:xfrm rot="19794208">
            <a:off x="4762500" y="1777922"/>
            <a:ext cx="1573120" cy="51217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9,5teqCO2/t</a:t>
            </a:r>
          </a:p>
        </p:txBody>
      </p:sp>
      <p:sp>
        <p:nvSpPr>
          <p:cNvPr id="166" name="Rectangle 165">
            <a:extLst>
              <a:ext uri="{FF2B5EF4-FFF2-40B4-BE49-F238E27FC236}">
                <a16:creationId xmlns:a16="http://schemas.microsoft.com/office/drawing/2014/main" id="{C99BE1D7-06F9-4552-9603-77B0365C2E23}"/>
              </a:ext>
            </a:extLst>
          </p:cNvPr>
          <p:cNvSpPr/>
          <p:nvPr/>
        </p:nvSpPr>
        <p:spPr>
          <a:xfrm rot="19794208">
            <a:off x="30660" y="1737931"/>
            <a:ext cx="1573120" cy="512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34teqCO2/t</a:t>
            </a:r>
          </a:p>
        </p:txBody>
      </p:sp>
    </p:spTree>
    <p:extLst>
      <p:ext uri="{BB962C8B-B14F-4D97-AF65-F5344CB8AC3E}">
        <p14:creationId xmlns:p14="http://schemas.microsoft.com/office/powerpoint/2010/main" val="36004880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t 61" hidden="1">
            <a:extLst>
              <a:ext uri="{FF2B5EF4-FFF2-40B4-BE49-F238E27FC236}">
                <a16:creationId xmlns:a16="http://schemas.microsoft.com/office/drawing/2014/main" id="{31094BD6-8BA3-452F-9069-BD8CFB8C6BB9}"/>
              </a:ext>
            </a:extLst>
          </p:cNvPr>
          <p:cNvGraphicFramePr>
            <a:graphicFrameLocks noChangeAspect="1"/>
          </p:cNvGraphicFramePr>
          <p:nvPr>
            <p:custDataLst>
              <p:tags r:id="rId1"/>
            </p:custDataLst>
            <p:extLst>
              <p:ext uri="{D42A27DB-BD31-4B8C-83A1-F6EECF244321}">
                <p14:modId xmlns:p14="http://schemas.microsoft.com/office/powerpoint/2010/main" val="10166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4" imgH="344" progId="TCLayout.ActiveDocument.1">
                  <p:embed/>
                </p:oleObj>
              </mc:Choice>
              <mc:Fallback>
                <p:oleObj name="Diapositive think-cell" r:id="rId4" imgW="344" imgH="344" progId="TCLayout.ActiveDocument.1">
                  <p:embed/>
                  <p:pic>
                    <p:nvPicPr>
                      <p:cNvPr id="62" name="Objet 61" hidden="1">
                        <a:extLst>
                          <a:ext uri="{FF2B5EF4-FFF2-40B4-BE49-F238E27FC236}">
                            <a16:creationId xmlns:a16="http://schemas.microsoft.com/office/drawing/2014/main" id="{31094BD6-8BA3-452F-9069-BD8CFB8C6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Image 7">
            <a:extLst>
              <a:ext uri="{FF2B5EF4-FFF2-40B4-BE49-F238E27FC236}">
                <a16:creationId xmlns:a16="http://schemas.microsoft.com/office/drawing/2014/main" id="{03BFEAD1-45FB-4507-B07E-477CFF203B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337" y="2027287"/>
            <a:ext cx="4563517" cy="3683908"/>
          </a:xfrm>
          <a:prstGeom prst="rect">
            <a:avLst/>
          </a:prstGeom>
        </p:spPr>
      </p:pic>
      <p:cxnSp>
        <p:nvCxnSpPr>
          <p:cNvPr id="85" name="Connecteur droit 84">
            <a:extLst>
              <a:ext uri="{FF2B5EF4-FFF2-40B4-BE49-F238E27FC236}">
                <a16:creationId xmlns:a16="http://schemas.microsoft.com/office/drawing/2014/main" id="{1AB715F0-4C64-482D-8262-8DDC2640B06F}"/>
              </a:ext>
            </a:extLst>
          </p:cNvPr>
          <p:cNvCxnSpPr/>
          <p:nvPr/>
        </p:nvCxnSpPr>
        <p:spPr>
          <a:xfrm>
            <a:off x="5028668" y="2001109"/>
            <a:ext cx="0" cy="2994025"/>
          </a:xfrm>
          <a:prstGeom prst="line">
            <a:avLst/>
          </a:prstGeom>
          <a:ln>
            <a:solidFill>
              <a:srgbClr val="1B9D91"/>
            </a:solidFill>
          </a:ln>
        </p:spPr>
        <p:style>
          <a:lnRef idx="1">
            <a:schemeClr val="accent1"/>
          </a:lnRef>
          <a:fillRef idx="0">
            <a:schemeClr val="accent1"/>
          </a:fillRef>
          <a:effectRef idx="0">
            <a:schemeClr val="accent1"/>
          </a:effectRef>
          <a:fontRef idx="minor">
            <a:schemeClr val="tx1"/>
          </a:fontRef>
        </p:style>
      </p:cxnSp>
      <p:sp>
        <p:nvSpPr>
          <p:cNvPr id="2" name="Titre 1">
            <a:extLst>
              <a:ext uri="{FF2B5EF4-FFF2-40B4-BE49-F238E27FC236}">
                <a16:creationId xmlns:a16="http://schemas.microsoft.com/office/drawing/2014/main" id="{8C0B985A-0826-47F6-827E-486E4DA11D49}"/>
              </a:ext>
            </a:extLst>
          </p:cNvPr>
          <p:cNvSpPr>
            <a:spLocks noGrp="1"/>
          </p:cNvSpPr>
          <p:nvPr>
            <p:ph type="title"/>
          </p:nvPr>
        </p:nvSpPr>
        <p:spPr/>
        <p:txBody>
          <a:bodyPr vert="horz"/>
          <a:lstStyle/>
          <a:p>
            <a:r>
              <a:rPr lang="fr-FR" dirty="0"/>
              <a:t>La limitation du « tourisme industriel » dans la chaîne de valeur du titane demeure un enjeu RSE majeur  </a:t>
            </a:r>
          </a:p>
        </p:txBody>
      </p:sp>
      <p:sp>
        <p:nvSpPr>
          <p:cNvPr id="4" name="Espace réservé du texte 3">
            <a:extLst>
              <a:ext uri="{FF2B5EF4-FFF2-40B4-BE49-F238E27FC236}">
                <a16:creationId xmlns:a16="http://schemas.microsoft.com/office/drawing/2014/main" id="{6953E9DA-9FE3-47F9-BDAD-CBA058F5A62C}"/>
              </a:ext>
            </a:extLst>
          </p:cNvPr>
          <p:cNvSpPr>
            <a:spLocks noGrp="1"/>
          </p:cNvSpPr>
          <p:nvPr>
            <p:ph type="body" sz="quarter" idx="13"/>
          </p:nvPr>
        </p:nvSpPr>
        <p:spPr/>
        <p:txBody>
          <a:bodyPr/>
          <a:lstStyle/>
          <a:p>
            <a:r>
              <a:rPr lang="fr-FR" dirty="0"/>
              <a:t>*Estimations sur un transit maritime France (Le Havre) / USA (moyenne des 3 principaux ports de fret)</a:t>
            </a:r>
          </a:p>
        </p:txBody>
      </p:sp>
      <p:sp>
        <p:nvSpPr>
          <p:cNvPr id="5" name="Espace réservé de la date 4">
            <a:extLst>
              <a:ext uri="{FF2B5EF4-FFF2-40B4-BE49-F238E27FC236}">
                <a16:creationId xmlns:a16="http://schemas.microsoft.com/office/drawing/2014/main" id="{BBB06B8F-E2FB-47BC-B212-E6008BB2F3C2}"/>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CE3372AE-CC94-4A5A-8298-44BD9A8D66AF}"/>
              </a:ext>
            </a:extLst>
          </p:cNvPr>
          <p:cNvSpPr>
            <a:spLocks noGrp="1"/>
          </p:cNvSpPr>
          <p:nvPr>
            <p:ph type="ftr" sz="quarter" idx="15"/>
          </p:nvPr>
        </p:nvSpPr>
        <p:spPr/>
        <p:txBody>
          <a:bodyPr/>
          <a:lstStyle/>
          <a:p>
            <a:pPr algn="l"/>
            <a:r>
              <a:rPr lang="fr-FR" dirty="0"/>
              <a:t>EcoTitanium / UKAD : les avantages de la filière Titane</a:t>
            </a:r>
          </a:p>
        </p:txBody>
      </p:sp>
      <p:sp>
        <p:nvSpPr>
          <p:cNvPr id="7" name="Espace réservé du numéro de diapositive 6">
            <a:extLst>
              <a:ext uri="{FF2B5EF4-FFF2-40B4-BE49-F238E27FC236}">
                <a16:creationId xmlns:a16="http://schemas.microsoft.com/office/drawing/2014/main" id="{A6738E27-36EC-499D-99D4-13ADA097D000}"/>
              </a:ext>
            </a:extLst>
          </p:cNvPr>
          <p:cNvSpPr>
            <a:spLocks noGrp="1"/>
          </p:cNvSpPr>
          <p:nvPr>
            <p:ph type="sldNum" sz="quarter" idx="16"/>
          </p:nvPr>
        </p:nvSpPr>
        <p:spPr/>
        <p:txBody>
          <a:bodyPr/>
          <a:lstStyle/>
          <a:p>
            <a:fld id="{733122C9-A0B9-462F-8757-0847AD287B63}" type="slidenum">
              <a:rPr lang="fr-FR" smtClean="0"/>
              <a:pPr/>
              <a:t>16</a:t>
            </a:fld>
            <a:endParaRPr lang="fr-FR" dirty="0"/>
          </a:p>
        </p:txBody>
      </p:sp>
      <p:sp>
        <p:nvSpPr>
          <p:cNvPr id="77" name="ZoneTexte 76">
            <a:extLst>
              <a:ext uri="{FF2B5EF4-FFF2-40B4-BE49-F238E27FC236}">
                <a16:creationId xmlns:a16="http://schemas.microsoft.com/office/drawing/2014/main" id="{4E8B869F-C7A3-40A4-A2DA-F51DD2C62C6A}"/>
              </a:ext>
            </a:extLst>
          </p:cNvPr>
          <p:cNvSpPr txBox="1"/>
          <p:nvPr/>
        </p:nvSpPr>
        <p:spPr>
          <a:xfrm>
            <a:off x="5075357" y="1975018"/>
            <a:ext cx="3810028" cy="3662541"/>
          </a:xfrm>
          <a:prstGeom prst="rect">
            <a:avLst/>
          </a:prstGeom>
          <a:noFill/>
        </p:spPr>
        <p:txBody>
          <a:bodyPr wrap="square" rtlCol="0">
            <a:spAutoFit/>
          </a:bodyPr>
          <a:lstStyle/>
          <a:p>
            <a:pPr marL="265113" indent="-265113" algn="just">
              <a:spcAft>
                <a:spcPts val="1200"/>
              </a:spcAft>
              <a:buClr>
                <a:srgbClr val="1B9D91"/>
              </a:buClr>
              <a:buSzPct val="125000"/>
              <a:buFont typeface="Calibri" panose="020F0502020204030204" pitchFamily="34" charset="0"/>
              <a:buChar char="›"/>
            </a:pPr>
            <a:r>
              <a:rPr lang="fr-FR" sz="1400" b="1" dirty="0">
                <a:solidFill>
                  <a:schemeClr val="tx2"/>
                </a:solidFill>
                <a:cs typeface="Calibri" panose="020F0502020204030204" pitchFamily="34" charset="0"/>
              </a:rPr>
              <a:t>Notre Filière de valorisation permet de : </a:t>
            </a:r>
          </a:p>
          <a:p>
            <a:pPr marL="817563" lvl="1" indent="-360363" algn="just">
              <a:spcAft>
                <a:spcPts val="12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imiter l’impact carbone lié au transport inter-continent</a:t>
            </a:r>
          </a:p>
          <a:p>
            <a:pPr marL="817563" lvl="1" indent="-360363" algn="just">
              <a:spcAft>
                <a:spcPts val="12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D’avoir une source localisée à 100% en Europe</a:t>
            </a:r>
          </a:p>
          <a:p>
            <a:pPr marL="265113" indent="-265113" algn="just">
              <a:spcAft>
                <a:spcPts val="12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 </a:t>
            </a:r>
            <a:r>
              <a:rPr lang="fr-FR" sz="1400" b="1" dirty="0">
                <a:solidFill>
                  <a:schemeClr val="tx2"/>
                </a:solidFill>
                <a:cs typeface="Calibri" panose="020F0502020204030204" pitchFamily="34" charset="0"/>
              </a:rPr>
              <a:t>et également apporte des garantie en terme de sécurisation de la </a:t>
            </a:r>
            <a:r>
              <a:rPr lang="fr-FR" sz="1400" b="1" dirty="0" err="1">
                <a:solidFill>
                  <a:schemeClr val="tx2"/>
                </a:solidFill>
                <a:cs typeface="Calibri" panose="020F0502020204030204" pitchFamily="34" charset="0"/>
              </a:rPr>
              <a:t>supply-chain</a:t>
            </a:r>
            <a:r>
              <a:rPr lang="fr-FR" sz="1400" b="1" dirty="0">
                <a:solidFill>
                  <a:schemeClr val="tx2"/>
                </a:solidFill>
                <a:cs typeface="Calibri" panose="020F0502020204030204" pitchFamily="34" charset="0"/>
              </a:rPr>
              <a:t> </a:t>
            </a:r>
          </a:p>
          <a:p>
            <a:pPr marL="817563" lvl="1" indent="-360363" algn="just">
              <a:spcAft>
                <a:spcPts val="12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Réduction de la dépendance extérieure de l'Europe et les risques associés</a:t>
            </a:r>
          </a:p>
          <a:p>
            <a:pPr marL="817563" lvl="1" indent="-360363" algn="just">
              <a:spcAft>
                <a:spcPts val="12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Protection contre les perturbations de la chaîne d'approvisionnement</a:t>
            </a:r>
          </a:p>
        </p:txBody>
      </p:sp>
      <p:grpSp>
        <p:nvGrpSpPr>
          <p:cNvPr id="80" name="Group 10">
            <a:extLst>
              <a:ext uri="{FF2B5EF4-FFF2-40B4-BE49-F238E27FC236}">
                <a16:creationId xmlns:a16="http://schemas.microsoft.com/office/drawing/2014/main" id="{D38B1669-B3AF-41FF-8736-9EA4C7B86AA7}"/>
              </a:ext>
            </a:extLst>
          </p:cNvPr>
          <p:cNvGrpSpPr>
            <a:grpSpLocks noChangeAspect="1"/>
          </p:cNvGrpSpPr>
          <p:nvPr/>
        </p:nvGrpSpPr>
        <p:grpSpPr>
          <a:xfrm rot="16200000">
            <a:off x="4809068" y="3278522"/>
            <a:ext cx="439200" cy="439200"/>
            <a:chOff x="477582" y="2362623"/>
            <a:chExt cx="590158" cy="590158"/>
          </a:xfrm>
        </p:grpSpPr>
        <p:sp>
          <p:nvSpPr>
            <p:cNvPr id="81" name="Oval 14">
              <a:extLst>
                <a:ext uri="{FF2B5EF4-FFF2-40B4-BE49-F238E27FC236}">
                  <a16:creationId xmlns:a16="http://schemas.microsoft.com/office/drawing/2014/main" id="{79561432-E87A-4D02-8900-69F9BA544E2E}"/>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82" name="ChevronBlue 33">
              <a:extLst>
                <a:ext uri="{FF2B5EF4-FFF2-40B4-BE49-F238E27FC236}">
                  <a16:creationId xmlns:a16="http://schemas.microsoft.com/office/drawing/2014/main" id="{2DEF34D0-0735-4CA5-8FA9-DAFEC9BA36BC}"/>
                </a:ext>
              </a:extLst>
            </p:cNvPr>
            <p:cNvGrpSpPr>
              <a:grpSpLocks noChangeAspect="1"/>
            </p:cNvGrpSpPr>
            <p:nvPr>
              <p:custDataLst>
                <p:tags r:id="rId2"/>
              </p:custDataLst>
            </p:nvPr>
          </p:nvGrpSpPr>
          <p:grpSpPr>
            <a:xfrm rot="5400000">
              <a:off x="554736" y="2439776"/>
              <a:ext cx="435851" cy="435851"/>
              <a:chOff x="1016000" y="1016000"/>
              <a:chExt cx="396228" cy="396228"/>
            </a:xfrm>
          </p:grpSpPr>
          <p:sp>
            <p:nvSpPr>
              <p:cNvPr id="83" name="Oval 16">
                <a:extLst>
                  <a:ext uri="{FF2B5EF4-FFF2-40B4-BE49-F238E27FC236}">
                    <a16:creationId xmlns:a16="http://schemas.microsoft.com/office/drawing/2014/main" id="{13D89A3F-89C8-40FC-A678-02089A068A1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84" name="Freeform: Shape 17">
                <a:extLst>
                  <a:ext uri="{FF2B5EF4-FFF2-40B4-BE49-F238E27FC236}">
                    <a16:creationId xmlns:a16="http://schemas.microsoft.com/office/drawing/2014/main" id="{64999F2D-5DD8-437E-8300-7128EBA1C09E}"/>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sp>
        <p:nvSpPr>
          <p:cNvPr id="3" name="ZoneTexte 2">
            <a:extLst>
              <a:ext uri="{FF2B5EF4-FFF2-40B4-BE49-F238E27FC236}">
                <a16:creationId xmlns:a16="http://schemas.microsoft.com/office/drawing/2014/main" id="{3CF624D0-A2E2-4B14-9B2B-6E327F265890}"/>
              </a:ext>
            </a:extLst>
          </p:cNvPr>
          <p:cNvSpPr txBox="1"/>
          <p:nvPr/>
        </p:nvSpPr>
        <p:spPr>
          <a:xfrm>
            <a:off x="321760" y="5263543"/>
            <a:ext cx="1080655" cy="215444"/>
          </a:xfrm>
          <a:prstGeom prst="rect">
            <a:avLst/>
          </a:prstGeom>
          <a:noFill/>
        </p:spPr>
        <p:txBody>
          <a:bodyPr wrap="square" rtlCol="0">
            <a:spAutoFit/>
          </a:bodyPr>
          <a:lstStyle/>
          <a:p>
            <a:r>
              <a:rPr lang="fr-FR" sz="800" dirty="0">
                <a:solidFill>
                  <a:schemeClr val="tx2"/>
                </a:solidFill>
              </a:rPr>
              <a:t>Chiffres 2019</a:t>
            </a:r>
          </a:p>
        </p:txBody>
      </p:sp>
      <p:sp>
        <p:nvSpPr>
          <p:cNvPr id="20" name="Rectangle 19">
            <a:extLst>
              <a:ext uri="{FF2B5EF4-FFF2-40B4-BE49-F238E27FC236}">
                <a16:creationId xmlns:a16="http://schemas.microsoft.com/office/drawing/2014/main" id="{672FCF75-E999-40FB-BC35-B011AF41EF0A}"/>
              </a:ext>
            </a:extLst>
          </p:cNvPr>
          <p:cNvSpPr/>
          <p:nvPr/>
        </p:nvSpPr>
        <p:spPr>
          <a:xfrm rot="19794208">
            <a:off x="162189" y="2526974"/>
            <a:ext cx="1044000" cy="46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algn="ctr"/>
            <a:r>
              <a:rPr lang="fr-FR" sz="1400" b="1" dirty="0"/>
              <a:t>= 972 000t CO</a:t>
            </a:r>
            <a:r>
              <a:rPr lang="fr-FR" sz="1400" b="1" baseline="-25000" dirty="0"/>
              <a:t>2</a:t>
            </a:r>
            <a:r>
              <a:rPr lang="fr-FR" sz="1400" b="1" baseline="30000" dirty="0"/>
              <a:t>*</a:t>
            </a:r>
          </a:p>
        </p:txBody>
      </p:sp>
      <p:sp>
        <p:nvSpPr>
          <p:cNvPr id="21" name="Rectangle 20">
            <a:extLst>
              <a:ext uri="{FF2B5EF4-FFF2-40B4-BE49-F238E27FC236}">
                <a16:creationId xmlns:a16="http://schemas.microsoft.com/office/drawing/2014/main" id="{8FBCE112-BFD7-4F11-8357-F08D8BF70288}"/>
              </a:ext>
            </a:extLst>
          </p:cNvPr>
          <p:cNvSpPr/>
          <p:nvPr/>
        </p:nvSpPr>
        <p:spPr>
          <a:xfrm rot="19794208">
            <a:off x="305583" y="4044483"/>
            <a:ext cx="1044000" cy="46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algn="ctr"/>
            <a:r>
              <a:rPr lang="fr-FR" sz="1400" b="1" dirty="0"/>
              <a:t>= 648 000t CO</a:t>
            </a:r>
            <a:r>
              <a:rPr lang="fr-FR" sz="1400" b="1" baseline="-25000" dirty="0"/>
              <a:t>2</a:t>
            </a:r>
            <a:r>
              <a:rPr lang="fr-FR" sz="1400" b="1" baseline="30000" dirty="0"/>
              <a:t>*</a:t>
            </a:r>
          </a:p>
        </p:txBody>
      </p:sp>
    </p:spTree>
    <p:extLst>
      <p:ext uri="{BB962C8B-B14F-4D97-AF65-F5344CB8AC3E}">
        <p14:creationId xmlns:p14="http://schemas.microsoft.com/office/powerpoint/2010/main" val="3989626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2518C2E-5129-4950-ADEE-2C2B1497B1E9}"/>
              </a:ext>
            </a:extLst>
          </p:cNvPr>
          <p:cNvGraphicFramePr>
            <a:graphicFrameLocks noChangeAspect="1"/>
          </p:cNvGraphicFramePr>
          <p:nvPr>
            <p:custDataLst>
              <p:tags r:id="rId1"/>
            </p:custDataLst>
            <p:extLst>
              <p:ext uri="{D42A27DB-BD31-4B8C-83A1-F6EECF244321}">
                <p14:modId xmlns:p14="http://schemas.microsoft.com/office/powerpoint/2010/main" val="219543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7" imgW="395" imgH="396" progId="TCLayout.ActiveDocument.1">
                  <p:embed/>
                </p:oleObj>
              </mc:Choice>
              <mc:Fallback>
                <p:oleObj name="Diapositive think-cell" r:id="rId7" imgW="395" imgH="396" progId="TCLayout.ActiveDocument.1">
                  <p:embed/>
                  <p:pic>
                    <p:nvPicPr>
                      <p:cNvPr id="9" name="Objet 8" hidden="1">
                        <a:extLst>
                          <a:ext uri="{FF2B5EF4-FFF2-40B4-BE49-F238E27FC236}">
                            <a16:creationId xmlns:a16="http://schemas.microsoft.com/office/drawing/2014/main" id="{12518C2E-5129-4950-ADEE-2C2B1497B1E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Image 3">
            <a:extLst>
              <a:ext uri="{FF2B5EF4-FFF2-40B4-BE49-F238E27FC236}">
                <a16:creationId xmlns:a16="http://schemas.microsoft.com/office/drawing/2014/main" id="{21D412F0-B01D-4F5C-ABAE-B49B6F61F0FE}"/>
              </a:ext>
            </a:extLst>
          </p:cNvPr>
          <p:cNvPicPr>
            <a:picLocks noChangeAspect="1"/>
          </p:cNvPicPr>
          <p:nvPr/>
        </p:nvPicPr>
        <p:blipFill rotWithShape="1">
          <a:blip r:embed="rId9" cstate="screen">
            <a:extLst>
              <a:ext uri="{BEBA8EAE-BF5A-486C-A8C5-ECC9F3942E4B}">
                <a14:imgProps xmlns:a14="http://schemas.microsoft.com/office/drawing/2010/main">
                  <a14:imgLayer r:embed="rId10">
                    <a14:imgEffect>
                      <a14:brightnessContrast bright="-18000"/>
                    </a14:imgEffect>
                  </a14:imgLayer>
                </a14:imgProps>
              </a:ex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2" name="Rectangle : coins arrondis 11">
            <a:extLst>
              <a:ext uri="{FF2B5EF4-FFF2-40B4-BE49-F238E27FC236}">
                <a16:creationId xmlns:a16="http://schemas.microsoft.com/office/drawing/2014/main" id="{6D76717B-1206-4A59-B34C-9F75A7FDC7BD}"/>
              </a:ext>
            </a:extLst>
          </p:cNvPr>
          <p:cNvSpPr/>
          <p:nvPr/>
        </p:nvSpPr>
        <p:spPr>
          <a:xfrm>
            <a:off x="664029" y="1534887"/>
            <a:ext cx="7870371" cy="3875314"/>
          </a:xfrm>
          <a:prstGeom prst="roundRect">
            <a:avLst/>
          </a:prstGeom>
          <a:solidFill>
            <a:srgbClr val="1B9D91">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Espace réservé du contenu 2">
            <a:extLst>
              <a:ext uri="{FF2B5EF4-FFF2-40B4-BE49-F238E27FC236}">
                <a16:creationId xmlns:a16="http://schemas.microsoft.com/office/drawing/2014/main" id="{37F0F3F7-FD7C-44E1-A27A-66674DCEAF9D}"/>
              </a:ext>
            </a:extLst>
          </p:cNvPr>
          <p:cNvSpPr>
            <a:spLocks noGrp="1"/>
          </p:cNvSpPr>
          <p:nvPr>
            <p:ph idx="4294967295"/>
          </p:nvPr>
        </p:nvSpPr>
        <p:spPr>
          <a:xfrm>
            <a:off x="1471386" y="1936005"/>
            <a:ext cx="6856185" cy="3003550"/>
          </a:xfrm>
          <a:prstGeom prst="rect">
            <a:avLst/>
          </a:prstGeom>
        </p:spPr>
        <p:txBody>
          <a:bodyPr/>
          <a:lstStyle/>
          <a:p>
            <a:pPr marL="0" indent="0">
              <a:lnSpc>
                <a:spcPct val="1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Circuit de valorisation à faible impact carbone répondant aux enjeux de baisse des émissions de gaz à effet de serre  </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Filière 100% européenne </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Approvisionnement en matériau durable et régénérable </a:t>
            </a:r>
          </a:p>
          <a:p>
            <a:pPr marL="0" indent="0">
              <a:lnSpc>
                <a:spcPct val="200000"/>
              </a:lnSpc>
              <a:spcAft>
                <a:spcPts val="1200"/>
              </a:spcAft>
              <a:buClr>
                <a:srgbClr val="1B9D91"/>
              </a:buClr>
              <a:buSzPct val="125000"/>
              <a:buNone/>
            </a:pPr>
            <a:r>
              <a:rPr lang="fr-FR" sz="1800" b="1" kern="0" dirty="0">
                <a:solidFill>
                  <a:schemeClr val="bg1"/>
                </a:solidFill>
                <a:latin typeface="Arial" pitchFamily="34" charset="0"/>
                <a:cs typeface="Arial" pitchFamily="34" charset="0"/>
              </a:rPr>
              <a:t>Sécurisation de la </a:t>
            </a:r>
            <a:r>
              <a:rPr lang="fr-FR" sz="1800" b="1" kern="0" dirty="0" err="1">
                <a:solidFill>
                  <a:schemeClr val="bg1"/>
                </a:solidFill>
                <a:latin typeface="Arial" pitchFamily="34" charset="0"/>
                <a:cs typeface="Arial" pitchFamily="34" charset="0"/>
              </a:rPr>
              <a:t>supply-chain</a:t>
            </a:r>
            <a:endParaRPr lang="fr-FR" sz="1800" b="1" kern="0" dirty="0">
              <a:solidFill>
                <a:schemeClr val="bg1"/>
              </a:solidFill>
              <a:latin typeface="Arial" pitchFamily="34" charset="0"/>
              <a:cs typeface="Arial" pitchFamily="34" charset="0"/>
            </a:endParaRPr>
          </a:p>
        </p:txBody>
      </p:sp>
      <p:grpSp>
        <p:nvGrpSpPr>
          <p:cNvPr id="27" name="Group 10">
            <a:extLst>
              <a:ext uri="{FF2B5EF4-FFF2-40B4-BE49-F238E27FC236}">
                <a16:creationId xmlns:a16="http://schemas.microsoft.com/office/drawing/2014/main" id="{155C7CC8-AD6F-402B-AB7A-FF808B689F74}"/>
              </a:ext>
            </a:extLst>
          </p:cNvPr>
          <p:cNvGrpSpPr>
            <a:grpSpLocks noChangeAspect="1"/>
          </p:cNvGrpSpPr>
          <p:nvPr/>
        </p:nvGrpSpPr>
        <p:grpSpPr>
          <a:xfrm rot="16200000">
            <a:off x="931437" y="4688702"/>
            <a:ext cx="252000" cy="252000"/>
            <a:chOff x="477582" y="2362623"/>
            <a:chExt cx="590158" cy="590158"/>
          </a:xfrm>
        </p:grpSpPr>
        <p:sp>
          <p:nvSpPr>
            <p:cNvPr id="28" name="Oval 14">
              <a:extLst>
                <a:ext uri="{FF2B5EF4-FFF2-40B4-BE49-F238E27FC236}">
                  <a16:creationId xmlns:a16="http://schemas.microsoft.com/office/drawing/2014/main" id="{C4DD6582-AFCD-4163-B4FC-020CFFAA3EB3}"/>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29" name="ChevronBlue 33">
              <a:extLst>
                <a:ext uri="{FF2B5EF4-FFF2-40B4-BE49-F238E27FC236}">
                  <a16:creationId xmlns:a16="http://schemas.microsoft.com/office/drawing/2014/main" id="{6A3B0586-9BDD-493B-96FF-B2BBC515EC69}"/>
                </a:ext>
              </a:extLst>
            </p:cNvPr>
            <p:cNvGrpSpPr>
              <a:grpSpLocks noChangeAspect="1"/>
            </p:cNvGrpSpPr>
            <p:nvPr>
              <p:custDataLst>
                <p:tags r:id="rId5"/>
              </p:custDataLst>
            </p:nvPr>
          </p:nvGrpSpPr>
          <p:grpSpPr>
            <a:xfrm rot="5400000">
              <a:off x="554736" y="2439776"/>
              <a:ext cx="435851" cy="435851"/>
              <a:chOff x="1016000" y="1016000"/>
              <a:chExt cx="396228" cy="396228"/>
            </a:xfrm>
          </p:grpSpPr>
          <p:sp>
            <p:nvSpPr>
              <p:cNvPr id="30" name="Oval 16">
                <a:extLst>
                  <a:ext uri="{FF2B5EF4-FFF2-40B4-BE49-F238E27FC236}">
                    <a16:creationId xmlns:a16="http://schemas.microsoft.com/office/drawing/2014/main" id="{23D78490-E231-42F4-AFC2-9A81E87CF229}"/>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31" name="Freeform: Shape 17">
                <a:extLst>
                  <a:ext uri="{FF2B5EF4-FFF2-40B4-BE49-F238E27FC236}">
                    <a16:creationId xmlns:a16="http://schemas.microsoft.com/office/drawing/2014/main" id="{69DAFAEE-67C6-4FD5-8952-50109F4A5744}"/>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32" name="Group 10">
            <a:extLst>
              <a:ext uri="{FF2B5EF4-FFF2-40B4-BE49-F238E27FC236}">
                <a16:creationId xmlns:a16="http://schemas.microsoft.com/office/drawing/2014/main" id="{1377AE69-8A92-4EC7-B88E-EB106E5B2EAD}"/>
              </a:ext>
            </a:extLst>
          </p:cNvPr>
          <p:cNvGrpSpPr>
            <a:grpSpLocks noChangeAspect="1"/>
          </p:cNvGrpSpPr>
          <p:nvPr/>
        </p:nvGrpSpPr>
        <p:grpSpPr>
          <a:xfrm rot="16200000">
            <a:off x="931437" y="3851438"/>
            <a:ext cx="252000" cy="252000"/>
            <a:chOff x="477582" y="2362623"/>
            <a:chExt cx="590158" cy="590158"/>
          </a:xfrm>
        </p:grpSpPr>
        <p:sp>
          <p:nvSpPr>
            <p:cNvPr id="33" name="Oval 14">
              <a:extLst>
                <a:ext uri="{FF2B5EF4-FFF2-40B4-BE49-F238E27FC236}">
                  <a16:creationId xmlns:a16="http://schemas.microsoft.com/office/drawing/2014/main" id="{16FC87BF-4E45-4955-99AA-1A42259784E5}"/>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34" name="ChevronBlue 33">
              <a:extLst>
                <a:ext uri="{FF2B5EF4-FFF2-40B4-BE49-F238E27FC236}">
                  <a16:creationId xmlns:a16="http://schemas.microsoft.com/office/drawing/2014/main" id="{0AAE62BE-B2AF-41F7-92C5-AEDC516C48E0}"/>
                </a:ext>
              </a:extLst>
            </p:cNvPr>
            <p:cNvGrpSpPr>
              <a:grpSpLocks noChangeAspect="1"/>
            </p:cNvGrpSpPr>
            <p:nvPr>
              <p:custDataLst>
                <p:tags r:id="rId4"/>
              </p:custDataLst>
            </p:nvPr>
          </p:nvGrpSpPr>
          <p:grpSpPr>
            <a:xfrm rot="5400000">
              <a:off x="554736" y="2439776"/>
              <a:ext cx="435851" cy="435851"/>
              <a:chOff x="1016000" y="1016000"/>
              <a:chExt cx="396228" cy="396228"/>
            </a:xfrm>
          </p:grpSpPr>
          <p:sp>
            <p:nvSpPr>
              <p:cNvPr id="35" name="Oval 16">
                <a:extLst>
                  <a:ext uri="{FF2B5EF4-FFF2-40B4-BE49-F238E27FC236}">
                    <a16:creationId xmlns:a16="http://schemas.microsoft.com/office/drawing/2014/main" id="{05C019E4-DB01-41A3-B243-11508F9C5F39}"/>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36" name="Freeform: Shape 17">
                <a:extLst>
                  <a:ext uri="{FF2B5EF4-FFF2-40B4-BE49-F238E27FC236}">
                    <a16:creationId xmlns:a16="http://schemas.microsoft.com/office/drawing/2014/main" id="{2A8A0A38-0636-4D33-A5A6-9A703ABF1B33}"/>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37" name="Group 10">
            <a:extLst>
              <a:ext uri="{FF2B5EF4-FFF2-40B4-BE49-F238E27FC236}">
                <a16:creationId xmlns:a16="http://schemas.microsoft.com/office/drawing/2014/main" id="{B379B1E8-1076-488B-A211-545732CDD06A}"/>
              </a:ext>
            </a:extLst>
          </p:cNvPr>
          <p:cNvGrpSpPr>
            <a:grpSpLocks noChangeAspect="1"/>
          </p:cNvGrpSpPr>
          <p:nvPr/>
        </p:nvGrpSpPr>
        <p:grpSpPr>
          <a:xfrm rot="16200000">
            <a:off x="931438" y="3016753"/>
            <a:ext cx="252000" cy="252000"/>
            <a:chOff x="477582" y="2362623"/>
            <a:chExt cx="590158" cy="590158"/>
          </a:xfrm>
        </p:grpSpPr>
        <p:sp>
          <p:nvSpPr>
            <p:cNvPr id="38" name="Oval 14">
              <a:extLst>
                <a:ext uri="{FF2B5EF4-FFF2-40B4-BE49-F238E27FC236}">
                  <a16:creationId xmlns:a16="http://schemas.microsoft.com/office/drawing/2014/main" id="{400B4577-B3C0-4E74-A736-9077EA692B42}"/>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39" name="ChevronBlue 33">
              <a:extLst>
                <a:ext uri="{FF2B5EF4-FFF2-40B4-BE49-F238E27FC236}">
                  <a16:creationId xmlns:a16="http://schemas.microsoft.com/office/drawing/2014/main" id="{B836C2AF-29A8-4FF8-A5C9-6035CAD3CB65}"/>
                </a:ext>
              </a:extLst>
            </p:cNvPr>
            <p:cNvGrpSpPr>
              <a:grpSpLocks noChangeAspect="1"/>
            </p:cNvGrpSpPr>
            <p:nvPr>
              <p:custDataLst>
                <p:tags r:id="rId3"/>
              </p:custDataLst>
            </p:nvPr>
          </p:nvGrpSpPr>
          <p:grpSpPr>
            <a:xfrm rot="5400000">
              <a:off x="554736" y="2439776"/>
              <a:ext cx="435851" cy="435851"/>
              <a:chOff x="1016000" y="1016000"/>
              <a:chExt cx="396228" cy="396228"/>
            </a:xfrm>
          </p:grpSpPr>
          <p:sp>
            <p:nvSpPr>
              <p:cNvPr id="40" name="Oval 16">
                <a:extLst>
                  <a:ext uri="{FF2B5EF4-FFF2-40B4-BE49-F238E27FC236}">
                    <a16:creationId xmlns:a16="http://schemas.microsoft.com/office/drawing/2014/main" id="{80565160-2E02-4FE5-B208-AE1BB2871E3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1" name="Freeform: Shape 17">
                <a:extLst>
                  <a:ext uri="{FF2B5EF4-FFF2-40B4-BE49-F238E27FC236}">
                    <a16:creationId xmlns:a16="http://schemas.microsoft.com/office/drawing/2014/main" id="{D92829F3-62E7-4FAF-88E6-89AE19FD67A2}"/>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grpSp>
        <p:nvGrpSpPr>
          <p:cNvPr id="42" name="Group 10">
            <a:extLst>
              <a:ext uri="{FF2B5EF4-FFF2-40B4-BE49-F238E27FC236}">
                <a16:creationId xmlns:a16="http://schemas.microsoft.com/office/drawing/2014/main" id="{9993A8C0-4BB9-4AC5-A4A3-AF069C88973E}"/>
              </a:ext>
            </a:extLst>
          </p:cNvPr>
          <p:cNvGrpSpPr>
            <a:grpSpLocks noChangeAspect="1"/>
          </p:cNvGrpSpPr>
          <p:nvPr/>
        </p:nvGrpSpPr>
        <p:grpSpPr>
          <a:xfrm rot="16200000">
            <a:off x="921215" y="1989109"/>
            <a:ext cx="252000" cy="252000"/>
            <a:chOff x="477582" y="2362623"/>
            <a:chExt cx="590158" cy="590158"/>
          </a:xfrm>
        </p:grpSpPr>
        <p:sp>
          <p:nvSpPr>
            <p:cNvPr id="43" name="Oval 14">
              <a:extLst>
                <a:ext uri="{FF2B5EF4-FFF2-40B4-BE49-F238E27FC236}">
                  <a16:creationId xmlns:a16="http://schemas.microsoft.com/office/drawing/2014/main" id="{E2DF04C2-2038-42A5-A193-CCD976322C9B}"/>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44" name="ChevronBlue 33">
              <a:extLst>
                <a:ext uri="{FF2B5EF4-FFF2-40B4-BE49-F238E27FC236}">
                  <a16:creationId xmlns:a16="http://schemas.microsoft.com/office/drawing/2014/main" id="{5FAB8D08-57CC-41A1-9EFC-359A33859549}"/>
                </a:ext>
              </a:extLst>
            </p:cNvPr>
            <p:cNvGrpSpPr>
              <a:grpSpLocks noChangeAspect="1"/>
            </p:cNvGrpSpPr>
            <p:nvPr>
              <p:custDataLst>
                <p:tags r:id="rId2"/>
              </p:custDataLst>
            </p:nvPr>
          </p:nvGrpSpPr>
          <p:grpSpPr>
            <a:xfrm rot="5400000">
              <a:off x="554736" y="2439776"/>
              <a:ext cx="435851" cy="435851"/>
              <a:chOff x="1016000" y="1016000"/>
              <a:chExt cx="396228" cy="396228"/>
            </a:xfrm>
          </p:grpSpPr>
          <p:sp>
            <p:nvSpPr>
              <p:cNvPr id="45" name="Oval 16">
                <a:extLst>
                  <a:ext uri="{FF2B5EF4-FFF2-40B4-BE49-F238E27FC236}">
                    <a16:creationId xmlns:a16="http://schemas.microsoft.com/office/drawing/2014/main" id="{76ACF8CE-6E46-4895-8F22-246B38CB2B73}"/>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46" name="Freeform: Shape 17">
                <a:extLst>
                  <a:ext uri="{FF2B5EF4-FFF2-40B4-BE49-F238E27FC236}">
                    <a16:creationId xmlns:a16="http://schemas.microsoft.com/office/drawing/2014/main" id="{180B4D47-5645-4B14-9BB0-9CB4098FB890}"/>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pic>
        <p:nvPicPr>
          <p:cNvPr id="51" name="Image 50">
            <a:extLst>
              <a:ext uri="{FF2B5EF4-FFF2-40B4-BE49-F238E27FC236}">
                <a16:creationId xmlns:a16="http://schemas.microsoft.com/office/drawing/2014/main" id="{0005291C-6B50-41D8-B04F-F6D4C37D2D9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sp>
        <p:nvSpPr>
          <p:cNvPr id="48" name="Espace réservé du pied de page 5">
            <a:extLst>
              <a:ext uri="{FF2B5EF4-FFF2-40B4-BE49-F238E27FC236}">
                <a16:creationId xmlns:a16="http://schemas.microsoft.com/office/drawing/2014/main" id="{2447E72C-83C9-464C-92EC-4768C44869D1}"/>
              </a:ext>
            </a:extLst>
          </p:cNvPr>
          <p:cNvSpPr txBox="1">
            <a:spLocks/>
          </p:cNvSpPr>
          <p:nvPr/>
        </p:nvSpPr>
        <p:spPr bwMode="gray">
          <a:xfrm>
            <a:off x="862088" y="6192682"/>
            <a:ext cx="3420000" cy="440684"/>
          </a:xfrm>
          <a:prstGeom prst="rect">
            <a:avLst/>
          </a:prstGeom>
        </p:spPr>
        <p:txBody>
          <a:bodyPr vert="horz" lIns="0" tIns="0" rIns="0" bIns="0" rtlCol="0" anchor="b" anchorCtr="0">
            <a:noAutofit/>
          </a:bodyPr>
          <a:lstStyle>
            <a:defPPr>
              <a:defRPr lang="fr-FR"/>
            </a:defPPr>
            <a:lvl1pPr marL="0" algn="ctr" defTabSz="914400" rtl="0" eaLnBrk="1" latinLnBrk="0" hangingPunct="1">
              <a:lnSpc>
                <a:spcPct val="90000"/>
              </a:lnSpc>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dirty="0">
                <a:solidFill>
                  <a:schemeClr val="bg1"/>
                </a:solidFill>
                <a:latin typeface="Arial"/>
              </a:rPr>
              <a:t>EcoTitanium / UKAD : les avantages de la filière Titane</a:t>
            </a:r>
          </a:p>
        </p:txBody>
      </p:sp>
    </p:spTree>
    <p:extLst>
      <p:ext uri="{BB962C8B-B14F-4D97-AF65-F5344CB8AC3E}">
        <p14:creationId xmlns:p14="http://schemas.microsoft.com/office/powerpoint/2010/main" val="1444204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8D56A791-58E9-4E92-B16E-DFED5CC8DBFB}"/>
              </a:ext>
            </a:extLst>
          </p:cNvPr>
          <p:cNvGraphicFramePr>
            <a:graphicFrameLocks noChangeAspect="1"/>
          </p:cNvGraphicFramePr>
          <p:nvPr>
            <p:custDataLst>
              <p:tags r:id="rId1"/>
            </p:custDataLst>
            <p:extLst>
              <p:ext uri="{D42A27DB-BD31-4B8C-83A1-F6EECF244321}">
                <p14:modId xmlns:p14="http://schemas.microsoft.com/office/powerpoint/2010/main" val="79611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8" name="Objet 7" hidden="1">
                        <a:extLst>
                          <a:ext uri="{FF2B5EF4-FFF2-40B4-BE49-F238E27FC236}">
                            <a16:creationId xmlns:a16="http://schemas.microsoft.com/office/drawing/2014/main" id="{8D56A791-58E9-4E92-B16E-DFED5CC8DB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Image 25">
            <a:extLst>
              <a:ext uri="{FF2B5EF4-FFF2-40B4-BE49-F238E27FC236}">
                <a16:creationId xmlns:a16="http://schemas.microsoft.com/office/drawing/2014/main" id="{E92BC3E7-A60B-4A68-AC80-FE96C8B613EF}"/>
              </a:ext>
            </a:extLst>
          </p:cNvPr>
          <p:cNvPicPr>
            <a:picLocks noChangeAspect="1"/>
          </p:cNvPicPr>
          <p:nvPr/>
        </p:nvPicPr>
        <p:blipFill>
          <a:blip r:embed="rId5">
            <a:alphaModFix amt="20000"/>
          </a:blip>
          <a:stretch>
            <a:fillRect/>
          </a:stretch>
        </p:blipFill>
        <p:spPr>
          <a:xfrm>
            <a:off x="354924" y="1261871"/>
            <a:ext cx="5174147" cy="5164511"/>
          </a:xfrm>
          <a:prstGeom prst="rect">
            <a:avLst/>
          </a:prstGeom>
        </p:spPr>
      </p:pic>
      <p:sp>
        <p:nvSpPr>
          <p:cNvPr id="2" name="Titre 1">
            <a:extLst>
              <a:ext uri="{FF2B5EF4-FFF2-40B4-BE49-F238E27FC236}">
                <a16:creationId xmlns:a16="http://schemas.microsoft.com/office/drawing/2014/main" id="{939A07D1-8434-4DDC-B546-A55A054AD3E2}"/>
              </a:ext>
            </a:extLst>
          </p:cNvPr>
          <p:cNvSpPr>
            <a:spLocks noGrp="1"/>
          </p:cNvSpPr>
          <p:nvPr>
            <p:ph type="title"/>
          </p:nvPr>
        </p:nvSpPr>
        <p:spPr/>
        <p:txBody>
          <a:bodyPr vert="horz"/>
          <a:lstStyle/>
          <a:p>
            <a:r>
              <a:rPr lang="fr-FR" dirty="0"/>
              <a:t>Qui sommes nous?</a:t>
            </a:r>
          </a:p>
        </p:txBody>
      </p:sp>
      <p:sp>
        <p:nvSpPr>
          <p:cNvPr id="4" name="Espace réservé du texte 3">
            <a:extLst>
              <a:ext uri="{FF2B5EF4-FFF2-40B4-BE49-F238E27FC236}">
                <a16:creationId xmlns:a16="http://schemas.microsoft.com/office/drawing/2014/main" id="{12C93197-A3A1-41C6-A4E9-52A5FFE94E98}"/>
              </a:ext>
            </a:extLst>
          </p:cNvPr>
          <p:cNvSpPr>
            <a:spLocks noGrp="1"/>
          </p:cNvSpPr>
          <p:nvPr>
            <p:ph type="body" sz="quarter" idx="13"/>
          </p:nvPr>
        </p:nvSpPr>
        <p:spPr/>
        <p:txBody>
          <a:bodyPr/>
          <a:lstStyle/>
          <a:p>
            <a:endParaRPr lang="fr-FR"/>
          </a:p>
        </p:txBody>
      </p:sp>
      <p:sp>
        <p:nvSpPr>
          <p:cNvPr id="5" name="Espace réservé de la date 4">
            <a:extLst>
              <a:ext uri="{FF2B5EF4-FFF2-40B4-BE49-F238E27FC236}">
                <a16:creationId xmlns:a16="http://schemas.microsoft.com/office/drawing/2014/main" id="{485BBB96-D33B-4339-9C91-CA492DA3D14F}"/>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B1966083-B4EA-4367-BFDC-5797F7CA8246}"/>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6AB999AA-6103-4ADE-A87C-95B76A5F1F08}"/>
              </a:ext>
            </a:extLst>
          </p:cNvPr>
          <p:cNvSpPr>
            <a:spLocks noGrp="1"/>
          </p:cNvSpPr>
          <p:nvPr>
            <p:ph type="sldNum" sz="quarter" idx="16"/>
          </p:nvPr>
        </p:nvSpPr>
        <p:spPr/>
        <p:txBody>
          <a:bodyPr/>
          <a:lstStyle/>
          <a:p>
            <a:fld id="{733122C9-A0B9-462F-8757-0847AD287B63}" type="slidenum">
              <a:rPr lang="fr-FR" smtClean="0"/>
              <a:pPr/>
              <a:t>2</a:t>
            </a:fld>
            <a:endParaRPr lang="fr-FR" dirty="0"/>
          </a:p>
        </p:txBody>
      </p:sp>
      <p:sp>
        <p:nvSpPr>
          <p:cNvPr id="20" name="Rectangle 19">
            <a:extLst>
              <a:ext uri="{FF2B5EF4-FFF2-40B4-BE49-F238E27FC236}">
                <a16:creationId xmlns:a16="http://schemas.microsoft.com/office/drawing/2014/main" id="{3084AD90-3E27-4B81-9557-DA3A22E1EC38}"/>
              </a:ext>
            </a:extLst>
          </p:cNvPr>
          <p:cNvSpPr/>
          <p:nvPr/>
        </p:nvSpPr>
        <p:spPr>
          <a:xfrm>
            <a:off x="6248675" y="2806272"/>
            <a:ext cx="2781170" cy="2147978"/>
          </a:xfrm>
          <a:prstGeom prst="rect">
            <a:avLst/>
          </a:prstGeom>
          <a:solidFill>
            <a:srgbClr val="1B9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solidFill>
                  <a:schemeClr val="bg1"/>
                </a:solidFill>
              </a:rPr>
              <a:t>Centre de </a:t>
            </a:r>
            <a:r>
              <a:rPr lang="fr-FR" sz="3200" b="1" dirty="0">
                <a:solidFill>
                  <a:schemeClr val="bg1"/>
                </a:solidFill>
              </a:rPr>
              <a:t>Valorisation </a:t>
            </a:r>
            <a:r>
              <a:rPr lang="fr-FR" sz="3200" dirty="0">
                <a:solidFill>
                  <a:schemeClr val="bg1"/>
                </a:solidFill>
              </a:rPr>
              <a:t>européen</a:t>
            </a:r>
          </a:p>
        </p:txBody>
      </p:sp>
      <p:pic>
        <p:nvPicPr>
          <p:cNvPr id="12" name="Espace réservé du contenu 11">
            <a:extLst>
              <a:ext uri="{FF2B5EF4-FFF2-40B4-BE49-F238E27FC236}">
                <a16:creationId xmlns:a16="http://schemas.microsoft.com/office/drawing/2014/main" id="{D295E548-5306-4971-AD68-D8E39B875A10}"/>
              </a:ext>
            </a:extLst>
          </p:cNvPr>
          <p:cNvPicPr>
            <a:picLocks noGrp="1" noChangeAspect="1"/>
          </p:cNvPicPr>
          <p:nvPr>
            <p:ph idx="1"/>
          </p:nvPr>
        </p:nvPicPr>
        <p:blipFill>
          <a:blip r:embed="rId6" cstate="screen">
            <a:extLst>
              <a:ext uri="{28A0092B-C50C-407E-A947-70E740481C1C}">
                <a14:useLocalDpi xmlns:a14="http://schemas.microsoft.com/office/drawing/2010/main"/>
              </a:ext>
            </a:extLst>
          </a:blip>
          <a:stretch>
            <a:fillRect/>
          </a:stretch>
        </p:blipFill>
        <p:spPr>
          <a:xfrm>
            <a:off x="-331217" y="1331757"/>
            <a:ext cx="6481233" cy="4860925"/>
          </a:xfrm>
        </p:spPr>
      </p:pic>
    </p:spTree>
    <p:extLst>
      <p:ext uri="{BB962C8B-B14F-4D97-AF65-F5344CB8AC3E}">
        <p14:creationId xmlns:p14="http://schemas.microsoft.com/office/powerpoint/2010/main" val="2341641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1CE34E87-3C5F-4C56-B624-ABBFD753F189}"/>
              </a:ext>
            </a:extLst>
          </p:cNvPr>
          <p:cNvGraphicFramePr>
            <a:graphicFrameLocks noChangeAspect="1"/>
          </p:cNvGraphicFramePr>
          <p:nvPr>
            <p:custDataLst>
              <p:tags r:id="rId1"/>
            </p:custDataLst>
            <p:extLst>
              <p:ext uri="{D42A27DB-BD31-4B8C-83A1-F6EECF244321}">
                <p14:modId xmlns:p14="http://schemas.microsoft.com/office/powerpoint/2010/main" val="19152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8" name="Objet 7" hidden="1">
                        <a:extLst>
                          <a:ext uri="{FF2B5EF4-FFF2-40B4-BE49-F238E27FC236}">
                            <a16:creationId xmlns:a16="http://schemas.microsoft.com/office/drawing/2014/main" id="{1CE34E87-3C5F-4C56-B624-ABBFD753F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 2" descr="Une image contenant extérieur, terrain, roche, nature&#10;&#10;Description générée automatiquement">
            <a:extLst>
              <a:ext uri="{FF2B5EF4-FFF2-40B4-BE49-F238E27FC236}">
                <a16:creationId xmlns:a16="http://schemas.microsoft.com/office/drawing/2014/main" id="{434CED96-3BEF-4510-B067-51CD234985D1}"/>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10000"/>
                    </a14:imgEffect>
                  </a14:imgLayer>
                </a14:imgProps>
              </a:ext>
              <a:ext uri="{28A0092B-C50C-407E-A947-70E740481C1C}">
                <a14:useLocalDpi xmlns:a14="http://schemas.microsoft.com/office/drawing/2010/main"/>
              </a:ext>
            </a:extLst>
          </a:blip>
          <a:srcRect/>
          <a:stretch/>
        </p:blipFill>
        <p:spPr>
          <a:xfrm>
            <a:off x="-1" y="0"/>
            <a:ext cx="9144001" cy="6858000"/>
          </a:xfrm>
          <a:prstGeom prst="rect">
            <a:avLst/>
          </a:prstGeom>
        </p:spPr>
      </p:pic>
      <p:sp>
        <p:nvSpPr>
          <p:cNvPr id="5" name="Espace réservé de la date 4">
            <a:extLst>
              <a:ext uri="{FF2B5EF4-FFF2-40B4-BE49-F238E27FC236}">
                <a16:creationId xmlns:a16="http://schemas.microsoft.com/office/drawing/2014/main" id="{83A08F53-F3F0-45BB-B27D-D2F5C8584C13}"/>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834CFE62-D88D-4C6E-B359-2CF9DAE2FF5D}"/>
              </a:ext>
            </a:extLst>
          </p:cNvPr>
          <p:cNvSpPr>
            <a:spLocks noGrp="1"/>
          </p:cNvSpPr>
          <p:nvPr>
            <p:ph type="ftr" sz="quarter" idx="15"/>
          </p:nvPr>
        </p:nvSpPr>
        <p:spPr/>
        <p:txBody>
          <a:bodyPr/>
          <a:lstStyle/>
          <a:p>
            <a:pPr algn="l"/>
            <a:r>
              <a:rPr lang="fr-FR" dirty="0">
                <a:solidFill>
                  <a:schemeClr val="bg1"/>
                </a:solidFill>
              </a:rPr>
              <a:t>EcoTitanium / UKAD : les avantages de la filière Titane</a:t>
            </a:r>
          </a:p>
        </p:txBody>
      </p:sp>
      <p:sp>
        <p:nvSpPr>
          <p:cNvPr id="7" name="Espace réservé du numéro de diapositive 6">
            <a:extLst>
              <a:ext uri="{FF2B5EF4-FFF2-40B4-BE49-F238E27FC236}">
                <a16:creationId xmlns:a16="http://schemas.microsoft.com/office/drawing/2014/main" id="{2985AE1F-7175-42DD-825D-D8390FF40F71}"/>
              </a:ext>
            </a:extLst>
          </p:cNvPr>
          <p:cNvSpPr>
            <a:spLocks noGrp="1"/>
          </p:cNvSpPr>
          <p:nvPr>
            <p:ph type="sldNum" sz="quarter" idx="16"/>
          </p:nvPr>
        </p:nvSpPr>
        <p:spPr/>
        <p:txBody>
          <a:bodyPr/>
          <a:lstStyle/>
          <a:p>
            <a:fld id="{733122C9-A0B9-462F-8757-0847AD287B63}" type="slidenum">
              <a:rPr lang="fr-FR" smtClean="0"/>
              <a:pPr/>
              <a:t>3</a:t>
            </a:fld>
            <a:endParaRPr lang="fr-FR" dirty="0"/>
          </a:p>
        </p:txBody>
      </p:sp>
      <p:sp>
        <p:nvSpPr>
          <p:cNvPr id="31" name="Rectangle 30">
            <a:extLst>
              <a:ext uri="{FF2B5EF4-FFF2-40B4-BE49-F238E27FC236}">
                <a16:creationId xmlns:a16="http://schemas.microsoft.com/office/drawing/2014/main" id="{6740CC8E-8E30-4427-A892-0EE1C094C677}"/>
              </a:ext>
            </a:extLst>
          </p:cNvPr>
          <p:cNvSpPr/>
          <p:nvPr/>
        </p:nvSpPr>
        <p:spPr>
          <a:xfrm>
            <a:off x="4578993" y="3740649"/>
            <a:ext cx="2289683" cy="2249293"/>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9" name="Rectangle : coins arrondis 8">
            <a:extLst>
              <a:ext uri="{FF2B5EF4-FFF2-40B4-BE49-F238E27FC236}">
                <a16:creationId xmlns:a16="http://schemas.microsoft.com/office/drawing/2014/main" id="{A40F099C-110F-4A53-B9DC-78184A7335C7}"/>
              </a:ext>
            </a:extLst>
          </p:cNvPr>
          <p:cNvSpPr/>
          <p:nvPr/>
        </p:nvSpPr>
        <p:spPr>
          <a:xfrm>
            <a:off x="408965" y="1866380"/>
            <a:ext cx="3853543" cy="3853449"/>
          </a:xfrm>
          <a:prstGeom prst="roundRect">
            <a:avLst/>
          </a:prstGeom>
          <a:solidFill>
            <a:srgbClr val="1B9D9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800"/>
              </a:spcBef>
              <a:spcAft>
                <a:spcPts val="1200"/>
              </a:spcAft>
              <a:buFont typeface="Arial" panose="020B0604020202020204" pitchFamily="34" charset="0"/>
              <a:buChar char="›"/>
            </a:pPr>
            <a:r>
              <a:rPr lang="fr-FR" b="1" dirty="0">
                <a:solidFill>
                  <a:schemeClr val="bg1"/>
                </a:solidFill>
              </a:rPr>
              <a:t>JV entre UKAD, l’ADEME et Crédit-Agricole </a:t>
            </a:r>
          </a:p>
          <a:p>
            <a:pPr marL="285750" indent="-285750">
              <a:spcBef>
                <a:spcPts val="1800"/>
              </a:spcBef>
              <a:spcAft>
                <a:spcPts val="1200"/>
              </a:spcAft>
              <a:buFont typeface="Arial" panose="020B0604020202020204" pitchFamily="34" charset="0"/>
              <a:buChar char="›"/>
            </a:pPr>
            <a:r>
              <a:rPr lang="fr-FR" b="1" dirty="0">
                <a:solidFill>
                  <a:schemeClr val="bg1"/>
                </a:solidFill>
              </a:rPr>
              <a:t>Opérationnel depuis 2018</a:t>
            </a:r>
          </a:p>
          <a:p>
            <a:pPr marL="285750" indent="-285750">
              <a:spcBef>
                <a:spcPts val="1800"/>
              </a:spcBef>
              <a:spcAft>
                <a:spcPts val="1200"/>
              </a:spcAft>
              <a:buFont typeface="Arial" panose="020B0604020202020204" pitchFamily="34" charset="0"/>
              <a:buChar char="›"/>
            </a:pPr>
            <a:r>
              <a:rPr lang="fr-FR" b="1" dirty="0">
                <a:solidFill>
                  <a:schemeClr val="bg1"/>
                </a:solidFill>
              </a:rPr>
              <a:t>ISO9001, EN9100</a:t>
            </a:r>
          </a:p>
        </p:txBody>
      </p:sp>
      <p:sp>
        <p:nvSpPr>
          <p:cNvPr id="15" name="Rectangle : coins arrondis 14">
            <a:extLst>
              <a:ext uri="{FF2B5EF4-FFF2-40B4-BE49-F238E27FC236}">
                <a16:creationId xmlns:a16="http://schemas.microsoft.com/office/drawing/2014/main" id="{BB1DEA1E-C423-46E6-9D29-1AEA28A09901}"/>
              </a:ext>
            </a:extLst>
          </p:cNvPr>
          <p:cNvSpPr/>
          <p:nvPr/>
        </p:nvSpPr>
        <p:spPr>
          <a:xfrm>
            <a:off x="4941904" y="1853344"/>
            <a:ext cx="3853543" cy="3853449"/>
          </a:xfrm>
          <a:prstGeom prst="roundRect">
            <a:avLst/>
          </a:prstGeom>
          <a:solidFill>
            <a:srgbClr val="1B9D9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800"/>
              </a:spcBef>
              <a:buFont typeface="Arial" panose="020B0604020202020204" pitchFamily="34" charset="0"/>
              <a:buChar char="›"/>
            </a:pPr>
            <a:r>
              <a:rPr lang="fr-FR" b="1" dirty="0">
                <a:solidFill>
                  <a:schemeClr val="bg1"/>
                </a:solidFill>
              </a:rPr>
              <a:t>Qualifications Clients :  </a:t>
            </a:r>
            <a:r>
              <a:rPr lang="fr-FR" sz="1600" dirty="0">
                <a:solidFill>
                  <a:schemeClr val="bg1"/>
                </a:solidFill>
              </a:rPr>
              <a:t>AMS 4928, Airbus, Safran</a:t>
            </a:r>
            <a:r>
              <a:rPr lang="fr-FR" sz="1600" baseline="30000" dirty="0">
                <a:solidFill>
                  <a:schemeClr val="bg1"/>
                </a:solidFill>
              </a:rPr>
              <a:t>1</a:t>
            </a:r>
            <a:r>
              <a:rPr lang="fr-FR" sz="1600" dirty="0">
                <a:solidFill>
                  <a:schemeClr val="bg1"/>
                </a:solidFill>
              </a:rPr>
              <a:t>, Boeing, Défense</a:t>
            </a:r>
          </a:p>
          <a:p>
            <a:pPr marL="285750" indent="-285750">
              <a:spcBef>
                <a:spcPts val="2400"/>
              </a:spcBef>
              <a:buFont typeface="Arial" panose="020B0604020202020204" pitchFamily="34" charset="0"/>
              <a:buChar char="›"/>
            </a:pPr>
            <a:r>
              <a:rPr lang="fr-FR" b="1" dirty="0">
                <a:solidFill>
                  <a:schemeClr val="bg1"/>
                </a:solidFill>
              </a:rPr>
              <a:t>Applications :</a:t>
            </a:r>
          </a:p>
          <a:p>
            <a:pPr marL="742950" lvl="1" indent="-285750">
              <a:spcBef>
                <a:spcPts val="400"/>
              </a:spcBef>
              <a:buFont typeface="Arial" panose="020B0604020202020204" pitchFamily="34" charset="0"/>
              <a:buChar char="›"/>
            </a:pPr>
            <a:r>
              <a:rPr lang="fr-FR" sz="1600" dirty="0">
                <a:solidFill>
                  <a:schemeClr val="bg1"/>
                </a:solidFill>
              </a:rPr>
              <a:t>Aero : structures / moteurs </a:t>
            </a:r>
          </a:p>
          <a:p>
            <a:pPr marL="742950" lvl="1" indent="-285750">
              <a:spcBef>
                <a:spcPts val="400"/>
              </a:spcBef>
              <a:buFont typeface="Arial" panose="020B0604020202020204" pitchFamily="34" charset="0"/>
              <a:buChar char="›"/>
            </a:pPr>
            <a:r>
              <a:rPr lang="fr-FR" sz="1600" dirty="0">
                <a:solidFill>
                  <a:schemeClr val="bg1"/>
                </a:solidFill>
              </a:rPr>
              <a:t>Spatial</a:t>
            </a:r>
          </a:p>
          <a:p>
            <a:pPr marL="742950" lvl="1" indent="-285750">
              <a:spcBef>
                <a:spcPts val="400"/>
              </a:spcBef>
              <a:buFont typeface="Arial" panose="020B0604020202020204" pitchFamily="34" charset="0"/>
              <a:buChar char="›"/>
            </a:pPr>
            <a:r>
              <a:rPr lang="fr-FR" sz="1600" dirty="0">
                <a:solidFill>
                  <a:schemeClr val="bg1"/>
                </a:solidFill>
              </a:rPr>
              <a:t>Défense / Naval</a:t>
            </a:r>
          </a:p>
          <a:p>
            <a:pPr marL="742950" lvl="1" indent="-285750">
              <a:spcBef>
                <a:spcPts val="400"/>
              </a:spcBef>
              <a:buFont typeface="Arial" panose="020B0604020202020204" pitchFamily="34" charset="0"/>
              <a:buChar char="›"/>
            </a:pPr>
            <a:r>
              <a:rPr lang="fr-FR" sz="1600" dirty="0">
                <a:solidFill>
                  <a:schemeClr val="bg1"/>
                </a:solidFill>
              </a:rPr>
              <a:t>Energie / Nucléaire</a:t>
            </a:r>
          </a:p>
          <a:p>
            <a:pPr marL="742950" lvl="1" indent="-285750">
              <a:spcBef>
                <a:spcPts val="400"/>
              </a:spcBef>
              <a:buFont typeface="Arial" panose="020B0604020202020204" pitchFamily="34" charset="0"/>
              <a:buChar char="›"/>
            </a:pPr>
            <a:r>
              <a:rPr lang="fr-FR" sz="1600" dirty="0">
                <a:solidFill>
                  <a:schemeClr val="bg1"/>
                </a:solidFill>
              </a:rPr>
              <a:t>Corrosion / Industrie</a:t>
            </a:r>
          </a:p>
          <a:p>
            <a:pPr marL="742950" lvl="1" indent="-285750">
              <a:spcBef>
                <a:spcPts val="400"/>
              </a:spcBef>
              <a:buFont typeface="Arial" panose="020B0604020202020204" pitchFamily="34" charset="0"/>
              <a:buChar char="›"/>
            </a:pPr>
            <a:r>
              <a:rPr lang="fr-FR" sz="1600" dirty="0">
                <a:solidFill>
                  <a:schemeClr val="bg1"/>
                </a:solidFill>
              </a:rPr>
              <a:t>Médical</a:t>
            </a:r>
            <a:endParaRPr lang="fr-FR" b="1" dirty="0">
              <a:solidFill>
                <a:schemeClr val="bg1"/>
              </a:solidFill>
            </a:endParaRPr>
          </a:p>
        </p:txBody>
      </p:sp>
      <p:pic>
        <p:nvPicPr>
          <p:cNvPr id="12" name="Image 11">
            <a:extLst>
              <a:ext uri="{FF2B5EF4-FFF2-40B4-BE49-F238E27FC236}">
                <a16:creationId xmlns:a16="http://schemas.microsoft.com/office/drawing/2014/main" id="{38B968B0-051F-4A55-BDB9-F1E60A2E632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69930" y="191976"/>
            <a:ext cx="2604140" cy="1384385"/>
          </a:xfrm>
          <a:prstGeom prst="rect">
            <a:avLst/>
          </a:prstGeom>
        </p:spPr>
      </p:pic>
      <p:sp>
        <p:nvSpPr>
          <p:cNvPr id="2" name="ZoneTexte 1">
            <a:extLst>
              <a:ext uri="{FF2B5EF4-FFF2-40B4-BE49-F238E27FC236}">
                <a16:creationId xmlns:a16="http://schemas.microsoft.com/office/drawing/2014/main" id="{B69439B7-1A42-439E-8119-15D210E89194}"/>
              </a:ext>
            </a:extLst>
          </p:cNvPr>
          <p:cNvSpPr txBox="1"/>
          <p:nvPr/>
        </p:nvSpPr>
        <p:spPr>
          <a:xfrm>
            <a:off x="5631076" y="6201308"/>
            <a:ext cx="2650836" cy="254172"/>
          </a:xfrm>
          <a:prstGeom prst="rect">
            <a:avLst/>
          </a:prstGeom>
          <a:noFill/>
        </p:spPr>
        <p:txBody>
          <a:bodyPr wrap="square" rtlCol="0">
            <a:spAutoFit/>
          </a:bodyPr>
          <a:lstStyle/>
          <a:p>
            <a:pPr>
              <a:lnSpc>
                <a:spcPct val="150000"/>
              </a:lnSpc>
            </a:pPr>
            <a:r>
              <a:rPr lang="fr-FR" sz="800" baseline="30000" dirty="0">
                <a:solidFill>
                  <a:schemeClr val="bg1"/>
                </a:solidFill>
              </a:rPr>
              <a:t>1</a:t>
            </a:r>
            <a:r>
              <a:rPr lang="fr-FR" sz="800" dirty="0">
                <a:solidFill>
                  <a:schemeClr val="bg1"/>
                </a:solidFill>
              </a:rPr>
              <a:t> Qualification pièces fixes (DMD776)</a:t>
            </a:r>
          </a:p>
        </p:txBody>
      </p:sp>
      <p:pic>
        <p:nvPicPr>
          <p:cNvPr id="13" name="Image 12">
            <a:extLst>
              <a:ext uri="{FF2B5EF4-FFF2-40B4-BE49-F238E27FC236}">
                <a16:creationId xmlns:a16="http://schemas.microsoft.com/office/drawing/2014/main" id="{61DCC3DE-8FDA-460A-BDF7-642FC830555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spTree>
    <p:extLst>
      <p:ext uri="{BB962C8B-B14F-4D97-AF65-F5344CB8AC3E}">
        <p14:creationId xmlns:p14="http://schemas.microsoft.com/office/powerpoint/2010/main" val="21572711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1CE34E87-3C5F-4C56-B624-ABBFD753F189}"/>
              </a:ext>
            </a:extLst>
          </p:cNvPr>
          <p:cNvGraphicFramePr>
            <a:graphicFrameLocks noChangeAspect="1"/>
          </p:cNvGraphicFramePr>
          <p:nvPr>
            <p:custDataLst>
              <p:tags r:id="rId1"/>
            </p:custDataLst>
            <p:extLst>
              <p:ext uri="{D42A27DB-BD31-4B8C-83A1-F6EECF244321}">
                <p14:modId xmlns:p14="http://schemas.microsoft.com/office/powerpoint/2010/main" val="104923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8" name="Objet 7" hidden="1">
                        <a:extLst>
                          <a:ext uri="{FF2B5EF4-FFF2-40B4-BE49-F238E27FC236}">
                            <a16:creationId xmlns:a16="http://schemas.microsoft.com/office/drawing/2014/main" id="{1CE34E87-3C5F-4C56-B624-ABBFD753F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Image 19">
            <a:extLst>
              <a:ext uri="{FF2B5EF4-FFF2-40B4-BE49-F238E27FC236}">
                <a16:creationId xmlns:a16="http://schemas.microsoft.com/office/drawing/2014/main" id="{6AE84CF5-84C1-41C4-AD67-09F26EF3BE9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46"/>
          <a:stretch/>
        </p:blipFill>
        <p:spPr>
          <a:xfrm>
            <a:off x="1" y="-863957"/>
            <a:ext cx="9201150" cy="7721957"/>
          </a:xfrm>
          <a:prstGeom prst="rect">
            <a:avLst/>
          </a:prstGeom>
        </p:spPr>
      </p:pic>
      <p:sp>
        <p:nvSpPr>
          <p:cNvPr id="5" name="Espace réservé de la date 4">
            <a:extLst>
              <a:ext uri="{FF2B5EF4-FFF2-40B4-BE49-F238E27FC236}">
                <a16:creationId xmlns:a16="http://schemas.microsoft.com/office/drawing/2014/main" id="{83A08F53-F3F0-45BB-B27D-D2F5C8584C13}"/>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834CFE62-D88D-4C6E-B359-2CF9DAE2FF5D}"/>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2985AE1F-7175-42DD-825D-D8390FF40F71}"/>
              </a:ext>
            </a:extLst>
          </p:cNvPr>
          <p:cNvSpPr>
            <a:spLocks noGrp="1"/>
          </p:cNvSpPr>
          <p:nvPr>
            <p:ph type="sldNum" sz="quarter" idx="16"/>
          </p:nvPr>
        </p:nvSpPr>
        <p:spPr/>
        <p:txBody>
          <a:bodyPr/>
          <a:lstStyle/>
          <a:p>
            <a:fld id="{733122C9-A0B9-462F-8757-0847AD287B63}" type="slidenum">
              <a:rPr lang="fr-FR" smtClean="0"/>
              <a:pPr/>
              <a:t>4</a:t>
            </a:fld>
            <a:endParaRPr lang="fr-FR" dirty="0"/>
          </a:p>
        </p:txBody>
      </p:sp>
      <p:sp>
        <p:nvSpPr>
          <p:cNvPr id="31" name="Rectangle 30">
            <a:extLst>
              <a:ext uri="{FF2B5EF4-FFF2-40B4-BE49-F238E27FC236}">
                <a16:creationId xmlns:a16="http://schemas.microsoft.com/office/drawing/2014/main" id="{6740CC8E-8E30-4427-A892-0EE1C094C677}"/>
              </a:ext>
            </a:extLst>
          </p:cNvPr>
          <p:cNvSpPr/>
          <p:nvPr/>
        </p:nvSpPr>
        <p:spPr>
          <a:xfrm>
            <a:off x="4874268" y="4001904"/>
            <a:ext cx="2289683" cy="2249293"/>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endParaRPr lang="fr-FR"/>
          </a:p>
        </p:txBody>
      </p:sp>
      <p:pic>
        <p:nvPicPr>
          <p:cNvPr id="17" name="Image 16">
            <a:extLst>
              <a:ext uri="{FF2B5EF4-FFF2-40B4-BE49-F238E27FC236}">
                <a16:creationId xmlns:a16="http://schemas.microsoft.com/office/drawing/2014/main" id="{5A5C111B-5C56-491C-846C-B2D436F8216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83372" y="210972"/>
            <a:ext cx="1777257" cy="880799"/>
          </a:xfrm>
          <a:prstGeom prst="rect">
            <a:avLst/>
          </a:prstGeom>
        </p:spPr>
      </p:pic>
      <p:sp>
        <p:nvSpPr>
          <p:cNvPr id="11" name="Rectangle : coins arrondis 10">
            <a:extLst>
              <a:ext uri="{FF2B5EF4-FFF2-40B4-BE49-F238E27FC236}">
                <a16:creationId xmlns:a16="http://schemas.microsoft.com/office/drawing/2014/main" id="{B0654831-2F51-4C9B-BF0E-A6262A6EE384}"/>
              </a:ext>
            </a:extLst>
          </p:cNvPr>
          <p:cNvSpPr/>
          <p:nvPr/>
        </p:nvSpPr>
        <p:spPr>
          <a:xfrm>
            <a:off x="343301" y="1429929"/>
            <a:ext cx="3852000" cy="3852000"/>
          </a:xfrm>
          <a:prstGeom prst="roundRect">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800"/>
              </a:spcBef>
              <a:spcAft>
                <a:spcPts val="1200"/>
              </a:spcAft>
              <a:buFont typeface="Arial" panose="020B0604020202020204" pitchFamily="34" charset="0"/>
              <a:buChar char="›"/>
            </a:pPr>
            <a:r>
              <a:rPr lang="fr-FR" b="1" dirty="0">
                <a:solidFill>
                  <a:schemeClr val="bg1"/>
                </a:solidFill>
              </a:rPr>
              <a:t>100% Aubert </a:t>
            </a:r>
            <a:r>
              <a:rPr lang="fr-FR" b="1">
                <a:solidFill>
                  <a:schemeClr val="bg1"/>
                </a:solidFill>
              </a:rPr>
              <a:t>&amp; Duval</a:t>
            </a:r>
            <a:endParaRPr lang="fr-FR" b="1" dirty="0">
              <a:solidFill>
                <a:schemeClr val="bg1"/>
              </a:solidFill>
            </a:endParaRPr>
          </a:p>
          <a:p>
            <a:pPr marL="285750" indent="-285750">
              <a:spcBef>
                <a:spcPts val="1800"/>
              </a:spcBef>
              <a:spcAft>
                <a:spcPts val="1200"/>
              </a:spcAft>
              <a:buFont typeface="Arial" panose="020B0604020202020204" pitchFamily="34" charset="0"/>
              <a:buChar char="›"/>
            </a:pPr>
            <a:r>
              <a:rPr lang="fr-FR" b="1" dirty="0">
                <a:solidFill>
                  <a:schemeClr val="bg1"/>
                </a:solidFill>
              </a:rPr>
              <a:t>Opérationnel depuis 2011</a:t>
            </a:r>
          </a:p>
          <a:p>
            <a:pPr marL="285750" indent="-285750">
              <a:spcBef>
                <a:spcPts val="1800"/>
              </a:spcBef>
              <a:spcAft>
                <a:spcPts val="1200"/>
              </a:spcAft>
              <a:buFont typeface="Arial" panose="020B0604020202020204" pitchFamily="34" charset="0"/>
              <a:buChar char="›"/>
            </a:pPr>
            <a:r>
              <a:rPr lang="fr-FR" b="1" dirty="0">
                <a:solidFill>
                  <a:schemeClr val="bg1"/>
                </a:solidFill>
              </a:rPr>
              <a:t>EN9100, NADCAP CND, ISO14001, ISO45001, OEA</a:t>
            </a:r>
          </a:p>
        </p:txBody>
      </p:sp>
      <p:sp>
        <p:nvSpPr>
          <p:cNvPr id="12" name="Rectangle : coins arrondis 11">
            <a:extLst>
              <a:ext uri="{FF2B5EF4-FFF2-40B4-BE49-F238E27FC236}">
                <a16:creationId xmlns:a16="http://schemas.microsoft.com/office/drawing/2014/main" id="{DF10B81B-D4BC-4BEA-913D-3639890701E1}"/>
              </a:ext>
            </a:extLst>
          </p:cNvPr>
          <p:cNvSpPr/>
          <p:nvPr/>
        </p:nvSpPr>
        <p:spPr>
          <a:xfrm>
            <a:off x="4950597" y="1429929"/>
            <a:ext cx="3852000" cy="3852000"/>
          </a:xfrm>
          <a:prstGeom prst="roundRect">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Arial" panose="020B0604020202020204" pitchFamily="34" charset="0"/>
              <a:buChar char="›"/>
            </a:pPr>
            <a:r>
              <a:rPr lang="fr-FR" b="1" dirty="0">
                <a:solidFill>
                  <a:schemeClr val="bg1"/>
                </a:solidFill>
              </a:rPr>
              <a:t>Qualifications Clients :  </a:t>
            </a:r>
            <a:r>
              <a:rPr lang="fr-FR" sz="1600" dirty="0">
                <a:solidFill>
                  <a:schemeClr val="bg1"/>
                </a:solidFill>
              </a:rPr>
              <a:t>AMS 4928, Airbus, Safran</a:t>
            </a:r>
            <a:r>
              <a:rPr lang="fr-FR" sz="1600" baseline="30000" dirty="0">
                <a:solidFill>
                  <a:schemeClr val="bg1"/>
                </a:solidFill>
              </a:rPr>
              <a:t>1</a:t>
            </a:r>
            <a:r>
              <a:rPr lang="fr-FR" sz="1600" dirty="0">
                <a:solidFill>
                  <a:schemeClr val="bg1"/>
                </a:solidFill>
              </a:rPr>
              <a:t>, Boeing, Leonardo, Défense</a:t>
            </a:r>
          </a:p>
          <a:p>
            <a:pPr marL="285750" indent="-285750">
              <a:spcBef>
                <a:spcPts val="1800"/>
              </a:spcBef>
              <a:buFont typeface="Arial" panose="020B0604020202020204" pitchFamily="34" charset="0"/>
              <a:buChar char="›"/>
            </a:pPr>
            <a:r>
              <a:rPr lang="fr-FR" b="1" dirty="0">
                <a:solidFill>
                  <a:schemeClr val="bg1"/>
                </a:solidFill>
              </a:rPr>
              <a:t>Applications :</a:t>
            </a:r>
          </a:p>
          <a:p>
            <a:pPr marL="742950" lvl="1" indent="-285750">
              <a:spcBef>
                <a:spcPts val="400"/>
              </a:spcBef>
              <a:buFont typeface="Arial" panose="020B0604020202020204" pitchFamily="34" charset="0"/>
              <a:buChar char="›"/>
            </a:pPr>
            <a:r>
              <a:rPr lang="fr-FR" sz="1600" dirty="0">
                <a:solidFill>
                  <a:schemeClr val="bg1"/>
                </a:solidFill>
              </a:rPr>
              <a:t>Aero : structures / moteurs </a:t>
            </a:r>
          </a:p>
          <a:p>
            <a:pPr marL="742950" lvl="1" indent="-285750">
              <a:spcBef>
                <a:spcPts val="400"/>
              </a:spcBef>
              <a:buFont typeface="Arial" panose="020B0604020202020204" pitchFamily="34" charset="0"/>
              <a:buChar char="›"/>
            </a:pPr>
            <a:r>
              <a:rPr lang="fr-FR" sz="1600" dirty="0">
                <a:solidFill>
                  <a:schemeClr val="bg1"/>
                </a:solidFill>
              </a:rPr>
              <a:t>Spatial</a:t>
            </a:r>
          </a:p>
          <a:p>
            <a:pPr marL="742950" lvl="1" indent="-285750">
              <a:spcBef>
                <a:spcPts val="400"/>
              </a:spcBef>
              <a:buFont typeface="Arial" panose="020B0604020202020204" pitchFamily="34" charset="0"/>
              <a:buChar char="›"/>
            </a:pPr>
            <a:r>
              <a:rPr lang="fr-FR" sz="1600" dirty="0">
                <a:solidFill>
                  <a:schemeClr val="bg1"/>
                </a:solidFill>
              </a:rPr>
              <a:t>Défense / Naval</a:t>
            </a:r>
          </a:p>
          <a:p>
            <a:pPr marL="742950" lvl="1" indent="-285750">
              <a:spcBef>
                <a:spcPts val="400"/>
              </a:spcBef>
              <a:buFont typeface="Arial" panose="020B0604020202020204" pitchFamily="34" charset="0"/>
              <a:buChar char="›"/>
            </a:pPr>
            <a:r>
              <a:rPr lang="fr-FR" sz="1600" dirty="0">
                <a:solidFill>
                  <a:schemeClr val="bg1"/>
                </a:solidFill>
              </a:rPr>
              <a:t>Energie / Nucléaire</a:t>
            </a:r>
          </a:p>
          <a:p>
            <a:pPr marL="742950" lvl="1" indent="-285750">
              <a:spcBef>
                <a:spcPts val="400"/>
              </a:spcBef>
              <a:buFont typeface="Arial" panose="020B0604020202020204" pitchFamily="34" charset="0"/>
              <a:buChar char="›"/>
            </a:pPr>
            <a:r>
              <a:rPr lang="fr-FR" sz="1600" dirty="0">
                <a:solidFill>
                  <a:schemeClr val="bg1"/>
                </a:solidFill>
              </a:rPr>
              <a:t>Corrosion / Industrie</a:t>
            </a:r>
          </a:p>
          <a:p>
            <a:pPr marL="742950" lvl="1" indent="-285750">
              <a:spcBef>
                <a:spcPts val="400"/>
              </a:spcBef>
              <a:buFont typeface="Arial" panose="020B0604020202020204" pitchFamily="34" charset="0"/>
              <a:buChar char="›"/>
            </a:pPr>
            <a:r>
              <a:rPr lang="fr-FR" sz="1600" dirty="0">
                <a:solidFill>
                  <a:schemeClr val="bg1"/>
                </a:solidFill>
              </a:rPr>
              <a:t>Médical</a:t>
            </a:r>
          </a:p>
        </p:txBody>
      </p:sp>
      <p:sp>
        <p:nvSpPr>
          <p:cNvPr id="13" name="ZoneTexte 12">
            <a:extLst>
              <a:ext uri="{FF2B5EF4-FFF2-40B4-BE49-F238E27FC236}">
                <a16:creationId xmlns:a16="http://schemas.microsoft.com/office/drawing/2014/main" id="{704C7BD6-3461-4CBE-A3DE-3204FBB3EEB9}"/>
              </a:ext>
            </a:extLst>
          </p:cNvPr>
          <p:cNvSpPr txBox="1"/>
          <p:nvPr/>
        </p:nvSpPr>
        <p:spPr>
          <a:xfrm>
            <a:off x="5416201" y="6365779"/>
            <a:ext cx="2650836" cy="215444"/>
          </a:xfrm>
          <a:prstGeom prst="rect">
            <a:avLst/>
          </a:prstGeom>
          <a:noFill/>
        </p:spPr>
        <p:txBody>
          <a:bodyPr wrap="square" rtlCol="0">
            <a:spAutoFit/>
          </a:bodyPr>
          <a:lstStyle/>
          <a:p>
            <a:r>
              <a:rPr lang="fr-FR" sz="800" baseline="30000" dirty="0">
                <a:solidFill>
                  <a:schemeClr val="bg1"/>
                </a:solidFill>
              </a:rPr>
              <a:t>1</a:t>
            </a:r>
            <a:r>
              <a:rPr lang="fr-FR" sz="800" dirty="0">
                <a:solidFill>
                  <a:schemeClr val="bg1"/>
                </a:solidFill>
              </a:rPr>
              <a:t> Qualification pièces fixes (DMD776)</a:t>
            </a:r>
          </a:p>
        </p:txBody>
      </p:sp>
      <p:pic>
        <p:nvPicPr>
          <p:cNvPr id="14" name="Image 13">
            <a:extLst>
              <a:ext uri="{FF2B5EF4-FFF2-40B4-BE49-F238E27FC236}">
                <a16:creationId xmlns:a16="http://schemas.microsoft.com/office/drawing/2014/main" id="{821F423E-A890-456C-BE7B-FA2228264BF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7740353" y="6201308"/>
            <a:ext cx="1006985" cy="432000"/>
          </a:xfrm>
          <a:prstGeom prst="rect">
            <a:avLst/>
          </a:prstGeom>
        </p:spPr>
      </p:pic>
      <p:sp>
        <p:nvSpPr>
          <p:cNvPr id="15" name="Espace réservé du pied de page 5">
            <a:extLst>
              <a:ext uri="{FF2B5EF4-FFF2-40B4-BE49-F238E27FC236}">
                <a16:creationId xmlns:a16="http://schemas.microsoft.com/office/drawing/2014/main" id="{4B9A84FF-B42D-4594-A776-03F11414CA48}"/>
              </a:ext>
            </a:extLst>
          </p:cNvPr>
          <p:cNvSpPr txBox="1">
            <a:spLocks/>
          </p:cNvSpPr>
          <p:nvPr/>
        </p:nvSpPr>
        <p:spPr bwMode="gray">
          <a:xfrm>
            <a:off x="842472" y="6192682"/>
            <a:ext cx="3420000" cy="440684"/>
          </a:xfrm>
          <a:prstGeom prst="rect">
            <a:avLst/>
          </a:prstGeom>
        </p:spPr>
        <p:txBody>
          <a:bodyPr vert="horz" lIns="0" tIns="0" rIns="0" bIns="0" rtlCol="0" anchor="b" anchorCtr="0">
            <a:noAutofit/>
          </a:bodyPr>
          <a:lstStyle>
            <a:defPPr>
              <a:defRPr lang="fr-FR"/>
            </a:defPPr>
            <a:lvl1pPr marL="0" algn="ctr" defTabSz="914400" rtl="0" eaLnBrk="1" latinLnBrk="0" hangingPunct="1">
              <a:lnSpc>
                <a:spcPct val="90000"/>
              </a:lnSpc>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a:solidFill>
                  <a:schemeClr val="bg1"/>
                </a:solidFill>
              </a:rPr>
              <a:t>EcoTitanium / UKAD : les avantages de la filière Titane</a:t>
            </a:r>
            <a:endParaRPr lang="fr-FR" dirty="0">
              <a:solidFill>
                <a:schemeClr val="bg1"/>
              </a:solidFill>
            </a:endParaRPr>
          </a:p>
        </p:txBody>
      </p:sp>
    </p:spTree>
    <p:extLst>
      <p:ext uri="{BB962C8B-B14F-4D97-AF65-F5344CB8AC3E}">
        <p14:creationId xmlns:p14="http://schemas.microsoft.com/office/powerpoint/2010/main" val="18974317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C7190FE8-53A8-4549-BB6D-FA151340F017}"/>
              </a:ext>
            </a:extLst>
          </p:cNvPr>
          <p:cNvGraphicFramePr>
            <a:graphicFrameLocks noChangeAspect="1"/>
          </p:cNvGraphicFramePr>
          <p:nvPr>
            <p:custDataLst>
              <p:tags r:id="rId1"/>
            </p:custDataLst>
            <p:extLst>
              <p:ext uri="{D42A27DB-BD31-4B8C-83A1-F6EECF244321}">
                <p14:modId xmlns:p14="http://schemas.microsoft.com/office/powerpoint/2010/main" val="1338950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44" imgH="344" progId="TCLayout.ActiveDocument.1">
                  <p:embed/>
                </p:oleObj>
              </mc:Choice>
              <mc:Fallback>
                <p:oleObj name="Diapositive think-cell" r:id="rId3" imgW="344" imgH="344" progId="TCLayout.ActiveDocument.1">
                  <p:embed/>
                  <p:pic>
                    <p:nvPicPr>
                      <p:cNvPr id="3" name="Objet 2" hidden="1">
                        <a:extLst>
                          <a:ext uri="{FF2B5EF4-FFF2-40B4-BE49-F238E27FC236}">
                            <a16:creationId xmlns:a16="http://schemas.microsoft.com/office/drawing/2014/main" id="{C7190FE8-53A8-4549-BB6D-FA151340F0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Image 9">
            <a:extLst>
              <a:ext uri="{FF2B5EF4-FFF2-40B4-BE49-F238E27FC236}">
                <a16:creationId xmlns:a16="http://schemas.microsoft.com/office/drawing/2014/main" id="{D80D1A0B-6CAA-464F-B186-94BE564FA77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44278" y="3403126"/>
            <a:ext cx="2113777" cy="3465287"/>
          </a:xfrm>
          <a:prstGeom prst="rect">
            <a:avLst/>
          </a:prstGeom>
        </p:spPr>
      </p:pic>
      <p:sp>
        <p:nvSpPr>
          <p:cNvPr id="5" name="Espace réservé de la date 4">
            <a:extLst>
              <a:ext uri="{FF2B5EF4-FFF2-40B4-BE49-F238E27FC236}">
                <a16:creationId xmlns:a16="http://schemas.microsoft.com/office/drawing/2014/main" id="{96A23C80-A59B-478D-AD3F-C25D1323B5A2}"/>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DA984CED-0039-4649-951E-BA8C6288DDF0}"/>
              </a:ext>
            </a:extLst>
          </p:cNvPr>
          <p:cNvSpPr>
            <a:spLocks noGrp="1"/>
          </p:cNvSpPr>
          <p:nvPr>
            <p:ph type="ftr" sz="quarter" idx="15"/>
          </p:nvPr>
        </p:nvSpPr>
        <p:spPr>
          <a:xfrm>
            <a:off x="842472" y="6192682"/>
            <a:ext cx="3420000" cy="440684"/>
          </a:xfrm>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8CF951D5-3200-4E04-AA9B-F638F71ADB54}"/>
              </a:ext>
            </a:extLst>
          </p:cNvPr>
          <p:cNvSpPr>
            <a:spLocks noGrp="1"/>
          </p:cNvSpPr>
          <p:nvPr>
            <p:ph type="sldNum" sz="quarter" idx="16"/>
          </p:nvPr>
        </p:nvSpPr>
        <p:spPr/>
        <p:txBody>
          <a:bodyPr/>
          <a:lstStyle/>
          <a:p>
            <a:fld id="{733122C9-A0B9-462F-8757-0847AD287B63}" type="slidenum">
              <a:rPr lang="fr-FR" smtClean="0"/>
              <a:pPr/>
              <a:t>5</a:t>
            </a:fld>
            <a:endParaRPr lang="fr-FR" dirty="0"/>
          </a:p>
        </p:txBody>
      </p:sp>
      <p:sp>
        <p:nvSpPr>
          <p:cNvPr id="8" name="TextBox 24">
            <a:extLst>
              <a:ext uri="{FF2B5EF4-FFF2-40B4-BE49-F238E27FC236}">
                <a16:creationId xmlns:a16="http://schemas.microsoft.com/office/drawing/2014/main" id="{5DAF58ED-14AC-40AD-87DD-65DA444C9D6E}"/>
              </a:ext>
            </a:extLst>
          </p:cNvPr>
          <p:cNvSpPr txBox="1"/>
          <p:nvPr/>
        </p:nvSpPr>
        <p:spPr>
          <a:xfrm>
            <a:off x="539751" y="4356707"/>
            <a:ext cx="4032250" cy="1708160"/>
          </a:xfrm>
          <a:prstGeom prst="rect">
            <a:avLst/>
          </a:prstGeom>
          <a:noFill/>
        </p:spPr>
        <p:txBody>
          <a:bodyPr wrap="square" lIns="0" rIns="0" rtlCol="0" anchor="b">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Traçabilité</a:t>
            </a:r>
          </a:p>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Qualité</a:t>
            </a:r>
          </a:p>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State of the art</a:t>
            </a:r>
          </a:p>
          <a:p>
            <a:pPr marL="285750" indent="-285750">
              <a:spcBef>
                <a:spcPts val="600"/>
              </a:spcBef>
              <a:buClr>
                <a:srgbClr val="1B9D91"/>
              </a:buClr>
              <a:buSzPct val="125000"/>
              <a:buFontTx/>
              <a:buChar char="›"/>
              <a:defRPr/>
            </a:pPr>
            <a:r>
              <a:rPr lang="fr-FR" sz="1800" kern="0" dirty="0">
                <a:solidFill>
                  <a:schemeClr val="tx2"/>
                </a:solidFill>
                <a:latin typeface="+mj-lt"/>
                <a:ea typeface="Open Sans" panose="020B0606030504020204" pitchFamily="34" charset="0"/>
                <a:cs typeface="Open Sans" panose="020B0606030504020204" pitchFamily="34" charset="0"/>
              </a:rPr>
              <a:t>Excellence technique et environnementale</a:t>
            </a:r>
          </a:p>
        </p:txBody>
      </p:sp>
      <p:sp>
        <p:nvSpPr>
          <p:cNvPr id="11" name="TextBox 25">
            <a:extLst>
              <a:ext uri="{FF2B5EF4-FFF2-40B4-BE49-F238E27FC236}">
                <a16:creationId xmlns:a16="http://schemas.microsoft.com/office/drawing/2014/main" id="{A36E8F9E-B474-463D-A286-66B2A870AFA6}"/>
              </a:ext>
            </a:extLst>
          </p:cNvPr>
          <p:cNvSpPr txBox="1"/>
          <p:nvPr/>
        </p:nvSpPr>
        <p:spPr>
          <a:xfrm>
            <a:off x="539550" y="3730381"/>
            <a:ext cx="4987551" cy="584775"/>
          </a:xfrm>
          <a:prstGeom prst="rect">
            <a:avLst/>
          </a:prstGeom>
          <a:noFill/>
        </p:spPr>
        <p:txBody>
          <a:bodyPr wrap="square" lIns="0" rIns="0" rtlCol="0">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IN" sz="3200" b="1" dirty="0">
                <a:solidFill>
                  <a:srgbClr val="1B9D91"/>
                </a:solidFill>
                <a:latin typeface="Open Sans" panose="020B0606030504020204" pitchFamily="34" charset="0"/>
                <a:ea typeface="Open Sans" panose="020B0606030504020204" pitchFamily="34" charset="0"/>
                <a:cs typeface="Open Sans" panose="020B0606030504020204" pitchFamily="34" charset="0"/>
              </a:rPr>
              <a:t>Nos </a:t>
            </a:r>
            <a:r>
              <a:rPr lang="en-IN" sz="3200" b="1" dirty="0" err="1">
                <a:solidFill>
                  <a:srgbClr val="1B9D91"/>
                </a:solidFill>
                <a:latin typeface="Open Sans" panose="020B0606030504020204" pitchFamily="34" charset="0"/>
                <a:ea typeface="Open Sans" panose="020B0606030504020204" pitchFamily="34" charset="0"/>
                <a:cs typeface="Open Sans" panose="020B0606030504020204" pitchFamily="34" charset="0"/>
              </a:rPr>
              <a:t>Piliers</a:t>
            </a:r>
            <a:endParaRPr lang="en-IN" sz="3200" b="1" dirty="0">
              <a:solidFill>
                <a:srgbClr val="1B9D9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24">
            <a:extLst>
              <a:ext uri="{FF2B5EF4-FFF2-40B4-BE49-F238E27FC236}">
                <a16:creationId xmlns:a16="http://schemas.microsoft.com/office/drawing/2014/main" id="{0A0620F9-8FBB-4D15-87D2-4C7A0B0E2C34}"/>
              </a:ext>
            </a:extLst>
          </p:cNvPr>
          <p:cNvSpPr txBox="1"/>
          <p:nvPr/>
        </p:nvSpPr>
        <p:spPr>
          <a:xfrm>
            <a:off x="539750" y="1932042"/>
            <a:ext cx="4032250" cy="1287532"/>
          </a:xfrm>
          <a:prstGeom prst="rect">
            <a:avLst/>
          </a:prstGeom>
          <a:noFill/>
        </p:spPr>
        <p:txBody>
          <a:bodyPr wrap="square" lIns="0" rIns="0" rtlCol="0" anchor="b">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nSpc>
                <a:spcPct val="110000"/>
              </a:lnSpc>
              <a:defRPr/>
            </a:pPr>
            <a:r>
              <a:rPr lang="fr-FR" sz="1800" b="1" kern="0" dirty="0">
                <a:solidFill>
                  <a:schemeClr val="tx2"/>
                </a:solidFill>
                <a:ea typeface="Open Sans" panose="020B0606030504020204" pitchFamily="34" charset="0"/>
                <a:cs typeface="Open Sans" panose="020B0606030504020204" pitchFamily="34" charset="0"/>
              </a:rPr>
              <a:t>Créateur de valeur </a:t>
            </a:r>
            <a:r>
              <a:rPr lang="fr-FR" sz="1800" kern="0" dirty="0">
                <a:solidFill>
                  <a:schemeClr val="tx2"/>
                </a:solidFill>
                <a:ea typeface="Open Sans" panose="020B0606030504020204" pitchFamily="34" charset="0"/>
                <a:cs typeface="Open Sans" panose="020B0606030504020204" pitchFamily="34" charset="0"/>
              </a:rPr>
              <a:t>en transformant les matières réversibles titane en demi-produits de haute qualité pour les applications les plus exigeantes</a:t>
            </a:r>
          </a:p>
        </p:txBody>
      </p:sp>
      <p:sp>
        <p:nvSpPr>
          <p:cNvPr id="13" name="Rectangle 12">
            <a:extLst>
              <a:ext uri="{FF2B5EF4-FFF2-40B4-BE49-F238E27FC236}">
                <a16:creationId xmlns:a16="http://schemas.microsoft.com/office/drawing/2014/main" id="{ED1D304D-9B23-41CD-9222-A676AD6DDB9F}"/>
              </a:ext>
            </a:extLst>
          </p:cNvPr>
          <p:cNvSpPr/>
          <p:nvPr/>
        </p:nvSpPr>
        <p:spPr>
          <a:xfrm>
            <a:off x="180000" y="224634"/>
            <a:ext cx="4574880" cy="8297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 name="Image 18" descr="Une image contenant extérieur, terrain, blanc, roche&#10;&#10;Description générée automatiquement">
            <a:extLst>
              <a:ext uri="{FF2B5EF4-FFF2-40B4-BE49-F238E27FC236}">
                <a16:creationId xmlns:a16="http://schemas.microsoft.com/office/drawing/2014/main" id="{A0F2199A-E7AE-437E-8848-04DAFEA416C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852352" y="-18854"/>
            <a:ext cx="2097629" cy="3465287"/>
          </a:xfrm>
          <a:prstGeom prst="rect">
            <a:avLst/>
          </a:prstGeom>
        </p:spPr>
      </p:pic>
      <p:sp>
        <p:nvSpPr>
          <p:cNvPr id="9" name="TextBox 25">
            <a:extLst>
              <a:ext uri="{FF2B5EF4-FFF2-40B4-BE49-F238E27FC236}">
                <a16:creationId xmlns:a16="http://schemas.microsoft.com/office/drawing/2014/main" id="{A648C0A3-B202-46B7-9D28-C3C116EDC9B6}"/>
              </a:ext>
            </a:extLst>
          </p:cNvPr>
          <p:cNvSpPr txBox="1"/>
          <p:nvPr/>
        </p:nvSpPr>
        <p:spPr>
          <a:xfrm>
            <a:off x="539550" y="655283"/>
            <a:ext cx="4987551" cy="584775"/>
          </a:xfrm>
          <a:prstGeom prst="rect">
            <a:avLst/>
          </a:prstGeom>
          <a:noFill/>
        </p:spPr>
        <p:txBody>
          <a:bodyPr wrap="square" lIns="0" rIns="0" rtlCol="0">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IN" sz="3200" b="1" dirty="0">
                <a:solidFill>
                  <a:srgbClr val="1B9D91"/>
                </a:solidFill>
                <a:latin typeface="Open Sans" panose="020B0606030504020204" pitchFamily="34" charset="0"/>
                <a:ea typeface="Open Sans" panose="020B0606030504020204" pitchFamily="34" charset="0"/>
                <a:cs typeface="Open Sans" panose="020B0606030504020204" pitchFamily="34" charset="0"/>
              </a:rPr>
              <a:t>Notre Mission</a:t>
            </a:r>
          </a:p>
        </p:txBody>
      </p:sp>
      <p:pic>
        <p:nvPicPr>
          <p:cNvPr id="15" name="Image 14">
            <a:extLst>
              <a:ext uri="{FF2B5EF4-FFF2-40B4-BE49-F238E27FC236}">
                <a16:creationId xmlns:a16="http://schemas.microsoft.com/office/drawing/2014/main" id="{2D6D2F51-A9BF-43D9-97FC-2A6418E668B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a:off x="4643728" y="2269688"/>
            <a:ext cx="6881084" cy="2304000"/>
          </a:xfrm>
          <a:prstGeom prst="rect">
            <a:avLst/>
          </a:prstGeom>
        </p:spPr>
      </p:pic>
      <p:cxnSp>
        <p:nvCxnSpPr>
          <p:cNvPr id="18" name="Connecteur droit 17">
            <a:extLst>
              <a:ext uri="{FF2B5EF4-FFF2-40B4-BE49-F238E27FC236}">
                <a16:creationId xmlns:a16="http://schemas.microsoft.com/office/drawing/2014/main" id="{D81295E8-1F79-495B-B909-D0EBF694FA2D}"/>
              </a:ext>
            </a:extLst>
          </p:cNvPr>
          <p:cNvCxnSpPr/>
          <p:nvPr/>
        </p:nvCxnSpPr>
        <p:spPr>
          <a:xfrm>
            <a:off x="4826584" y="3429000"/>
            <a:ext cx="212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E6EED860-4487-4817-ABFF-12670454E2E5}"/>
              </a:ext>
            </a:extLst>
          </p:cNvPr>
          <p:cNvCxnSpPr>
            <a:cxnSpLocks/>
          </p:cNvCxnSpPr>
          <p:nvPr/>
        </p:nvCxnSpPr>
        <p:spPr>
          <a:xfrm rot="5400000">
            <a:off x="3379544" y="3408036"/>
            <a:ext cx="7128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587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t 40" hidden="1">
            <a:extLst>
              <a:ext uri="{FF2B5EF4-FFF2-40B4-BE49-F238E27FC236}">
                <a16:creationId xmlns:a16="http://schemas.microsoft.com/office/drawing/2014/main" id="{30132FCA-02D6-46DD-9D60-B16744E4A101}"/>
              </a:ext>
            </a:extLst>
          </p:cNvPr>
          <p:cNvGraphicFramePr>
            <a:graphicFrameLocks noChangeAspect="1"/>
          </p:cNvGraphicFramePr>
          <p:nvPr>
            <p:custDataLst>
              <p:tags r:id="rId1"/>
            </p:custDataLst>
            <p:extLst>
              <p:ext uri="{D42A27DB-BD31-4B8C-83A1-F6EECF244321}">
                <p14:modId xmlns:p14="http://schemas.microsoft.com/office/powerpoint/2010/main" val="1704277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395" imgH="396" progId="TCLayout.ActiveDocument.1">
                  <p:embed/>
                </p:oleObj>
              </mc:Choice>
              <mc:Fallback>
                <p:oleObj name="Diapositive think-cell" r:id="rId6" imgW="395" imgH="396" progId="TCLayout.ActiveDocument.1">
                  <p:embed/>
                  <p:pic>
                    <p:nvPicPr>
                      <p:cNvPr id="41" name="Objet 40" hidden="1">
                        <a:extLst>
                          <a:ext uri="{FF2B5EF4-FFF2-40B4-BE49-F238E27FC236}">
                            <a16:creationId xmlns:a16="http://schemas.microsoft.com/office/drawing/2014/main" id="{30132FCA-02D6-46DD-9D60-B16744E4A1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6" name="Image 75">
            <a:extLst>
              <a:ext uri="{FF2B5EF4-FFF2-40B4-BE49-F238E27FC236}">
                <a16:creationId xmlns:a16="http://schemas.microsoft.com/office/drawing/2014/main" id="{1CB17FC8-ABBD-4943-96AE-13CF36257559}"/>
              </a:ext>
            </a:extLst>
          </p:cNvPr>
          <p:cNvPicPr>
            <a:picLocks noChangeAspect="1"/>
          </p:cNvPicPr>
          <p:nvPr/>
        </p:nvPicPr>
        <p:blipFill rotWithShape="1">
          <a:blip r:embed="rId8" cstate="print">
            <a:alphaModFix amt="20000"/>
            <a:extLst>
              <a:ext uri="{28A0092B-C50C-407E-A947-70E740481C1C}">
                <a14:useLocalDpi xmlns:a14="http://schemas.microsoft.com/office/drawing/2010/main"/>
              </a:ext>
            </a:extLst>
          </a:blip>
          <a:srcRect/>
          <a:stretch/>
        </p:blipFill>
        <p:spPr>
          <a:xfrm>
            <a:off x="2922853" y="3388464"/>
            <a:ext cx="1732439" cy="700597"/>
          </a:xfrm>
          <a:prstGeom prst="rect">
            <a:avLst/>
          </a:prstGeom>
        </p:spPr>
      </p:pic>
      <p:pic>
        <p:nvPicPr>
          <p:cNvPr id="75" name="Image 74">
            <a:extLst>
              <a:ext uri="{FF2B5EF4-FFF2-40B4-BE49-F238E27FC236}">
                <a16:creationId xmlns:a16="http://schemas.microsoft.com/office/drawing/2014/main" id="{4375092F-7EE2-40EC-8417-78994DD82914}"/>
              </a:ext>
            </a:extLst>
          </p:cNvPr>
          <p:cNvPicPr>
            <a:picLocks noChangeAspect="1"/>
          </p:cNvPicPr>
          <p:nvPr/>
        </p:nvPicPr>
        <p:blipFill>
          <a:blip r:embed="rId9" cstate="screen">
            <a:alphaModFix amt="20000"/>
            <a:extLst>
              <a:ext uri="{28A0092B-C50C-407E-A947-70E740481C1C}">
                <a14:useLocalDpi xmlns:a14="http://schemas.microsoft.com/office/drawing/2010/main"/>
              </a:ext>
            </a:extLst>
          </a:blip>
          <a:stretch>
            <a:fillRect/>
          </a:stretch>
        </p:blipFill>
        <p:spPr>
          <a:xfrm>
            <a:off x="4866339" y="3473592"/>
            <a:ext cx="1337478" cy="530342"/>
          </a:xfrm>
          <a:prstGeom prst="rect">
            <a:avLst/>
          </a:prstGeom>
        </p:spPr>
      </p:pic>
      <p:sp>
        <p:nvSpPr>
          <p:cNvPr id="2" name="Titre 1">
            <a:extLst>
              <a:ext uri="{FF2B5EF4-FFF2-40B4-BE49-F238E27FC236}">
                <a16:creationId xmlns:a16="http://schemas.microsoft.com/office/drawing/2014/main" id="{B5320389-07AB-4831-A060-2A224AF418F4}"/>
              </a:ext>
            </a:extLst>
          </p:cNvPr>
          <p:cNvSpPr>
            <a:spLocks noGrp="1"/>
          </p:cNvSpPr>
          <p:nvPr>
            <p:ph type="title"/>
          </p:nvPr>
        </p:nvSpPr>
        <p:spPr/>
        <p:txBody>
          <a:bodyPr vert="horz"/>
          <a:lstStyle/>
          <a:p>
            <a:r>
              <a:rPr lang="fr-FR" dirty="0"/>
              <a:t>Notre raison d’être : Être une solution aux défis actuels et futurs de la filière titane</a:t>
            </a:r>
          </a:p>
        </p:txBody>
      </p:sp>
      <p:sp>
        <p:nvSpPr>
          <p:cNvPr id="4" name="Espace réservé du texte 3">
            <a:extLst>
              <a:ext uri="{FF2B5EF4-FFF2-40B4-BE49-F238E27FC236}">
                <a16:creationId xmlns:a16="http://schemas.microsoft.com/office/drawing/2014/main" id="{B17D112C-4C4A-445A-9723-68C3B8F2AC29}"/>
              </a:ext>
            </a:extLst>
          </p:cNvPr>
          <p:cNvSpPr>
            <a:spLocks noGrp="1"/>
          </p:cNvSpPr>
          <p:nvPr>
            <p:ph type="body" sz="quarter" idx="13"/>
          </p:nvPr>
        </p:nvSpPr>
        <p:spPr/>
        <p:txBody>
          <a:bodyPr/>
          <a:lstStyle/>
          <a:p>
            <a:r>
              <a:rPr lang="fr-FR" dirty="0"/>
              <a:t>*Comité pour les métaux stratégiques (COMES) / 2020 </a:t>
            </a:r>
            <a:r>
              <a:rPr lang="fr-FR" dirty="0" err="1"/>
              <a:t>critical</a:t>
            </a:r>
            <a:r>
              <a:rPr lang="fr-FR" dirty="0"/>
              <a:t> </a:t>
            </a:r>
            <a:r>
              <a:rPr lang="fr-FR" dirty="0" err="1"/>
              <a:t>raw</a:t>
            </a:r>
            <a:r>
              <a:rPr lang="fr-FR" dirty="0"/>
              <a:t> </a:t>
            </a:r>
            <a:r>
              <a:rPr lang="fr-FR" dirty="0" err="1"/>
              <a:t>materials</a:t>
            </a:r>
            <a:r>
              <a:rPr lang="fr-FR" dirty="0"/>
              <a:t> </a:t>
            </a:r>
            <a:r>
              <a:rPr lang="fr-FR" dirty="0" err="1"/>
              <a:t>list</a:t>
            </a:r>
            <a:r>
              <a:rPr lang="fr-FR" dirty="0"/>
              <a:t>, EU</a:t>
            </a:r>
          </a:p>
        </p:txBody>
      </p:sp>
      <p:sp>
        <p:nvSpPr>
          <p:cNvPr id="5" name="Espace réservé de la date 4">
            <a:extLst>
              <a:ext uri="{FF2B5EF4-FFF2-40B4-BE49-F238E27FC236}">
                <a16:creationId xmlns:a16="http://schemas.microsoft.com/office/drawing/2014/main" id="{E1DB9ED6-9B22-4D46-B88C-866A2361B8F8}"/>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E1BFEC8B-ECB7-4ADB-AE70-8A82D350B03F}"/>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991FD68A-1620-4226-B404-3E171C2A9DCD}"/>
              </a:ext>
            </a:extLst>
          </p:cNvPr>
          <p:cNvSpPr>
            <a:spLocks noGrp="1"/>
          </p:cNvSpPr>
          <p:nvPr>
            <p:ph type="sldNum" sz="quarter" idx="16"/>
          </p:nvPr>
        </p:nvSpPr>
        <p:spPr/>
        <p:txBody>
          <a:bodyPr/>
          <a:lstStyle/>
          <a:p>
            <a:fld id="{733122C9-A0B9-462F-8757-0847AD287B63}" type="slidenum">
              <a:rPr lang="fr-FR" smtClean="0"/>
              <a:pPr/>
              <a:t>6</a:t>
            </a:fld>
            <a:endParaRPr lang="fr-FR" dirty="0"/>
          </a:p>
        </p:txBody>
      </p:sp>
      <p:sp>
        <p:nvSpPr>
          <p:cNvPr id="15" name="Rectangle 14">
            <a:extLst>
              <a:ext uri="{FF2B5EF4-FFF2-40B4-BE49-F238E27FC236}">
                <a16:creationId xmlns:a16="http://schemas.microsoft.com/office/drawing/2014/main" id="{378CC25B-D943-424B-ABCE-532A79F5671B}"/>
              </a:ext>
            </a:extLst>
          </p:cNvPr>
          <p:cNvSpPr/>
          <p:nvPr/>
        </p:nvSpPr>
        <p:spPr>
          <a:xfrm>
            <a:off x="151426" y="1177793"/>
            <a:ext cx="2880000" cy="2060553"/>
          </a:xfrm>
          <a:prstGeom prst="rect">
            <a:avLst/>
          </a:prstGeom>
          <a:solidFill>
            <a:srgbClr val="1BAE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Subtitle 6">
            <a:extLst>
              <a:ext uri="{FF2B5EF4-FFF2-40B4-BE49-F238E27FC236}">
                <a16:creationId xmlns:a16="http://schemas.microsoft.com/office/drawing/2014/main" id="{19414F75-7C3E-4CF9-98A5-2D50481F0234}"/>
              </a:ext>
            </a:extLst>
          </p:cNvPr>
          <p:cNvSpPr txBox="1">
            <a:spLocks/>
          </p:cNvSpPr>
          <p:nvPr/>
        </p:nvSpPr>
        <p:spPr>
          <a:xfrm>
            <a:off x="398714" y="2209936"/>
            <a:ext cx="2385425" cy="761855"/>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bg1"/>
                </a:solidFill>
                <a:latin typeface="+mn-lt"/>
              </a:rPr>
              <a:t>Matériau classifié comme stratégique*</a:t>
            </a:r>
          </a:p>
        </p:txBody>
      </p:sp>
      <p:grpSp>
        <p:nvGrpSpPr>
          <p:cNvPr id="8" name="Groupe 7">
            <a:extLst>
              <a:ext uri="{FF2B5EF4-FFF2-40B4-BE49-F238E27FC236}">
                <a16:creationId xmlns:a16="http://schemas.microsoft.com/office/drawing/2014/main" id="{BF9EE6B9-3F12-4B0E-8DE8-B72B2336116E}"/>
              </a:ext>
            </a:extLst>
          </p:cNvPr>
          <p:cNvGrpSpPr/>
          <p:nvPr/>
        </p:nvGrpSpPr>
        <p:grpSpPr>
          <a:xfrm>
            <a:off x="3125163" y="1177793"/>
            <a:ext cx="2880000" cy="2060553"/>
            <a:chOff x="3125163" y="1177793"/>
            <a:chExt cx="2880000" cy="2060553"/>
          </a:xfrm>
        </p:grpSpPr>
        <p:sp>
          <p:nvSpPr>
            <p:cNvPr id="16" name="Rectangle 15">
              <a:extLst>
                <a:ext uri="{FF2B5EF4-FFF2-40B4-BE49-F238E27FC236}">
                  <a16:creationId xmlns:a16="http://schemas.microsoft.com/office/drawing/2014/main" id="{913D6E8F-66C6-4901-9AF1-79E01395CB64}"/>
                </a:ext>
              </a:extLst>
            </p:cNvPr>
            <p:cNvSpPr/>
            <p:nvPr/>
          </p:nvSpPr>
          <p:spPr>
            <a:xfrm>
              <a:off x="3125163" y="1177793"/>
              <a:ext cx="2880000" cy="2060553"/>
            </a:xfrm>
            <a:prstGeom prst="rect">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Subtitle 6">
              <a:extLst>
                <a:ext uri="{FF2B5EF4-FFF2-40B4-BE49-F238E27FC236}">
                  <a16:creationId xmlns:a16="http://schemas.microsoft.com/office/drawing/2014/main" id="{CD19E0FF-2BAA-4675-8DFC-0C0895E9B667}"/>
                </a:ext>
              </a:extLst>
            </p:cNvPr>
            <p:cNvSpPr txBox="1">
              <a:spLocks/>
            </p:cNvSpPr>
            <p:nvPr/>
          </p:nvSpPr>
          <p:spPr>
            <a:xfrm>
              <a:off x="3149999" y="2052863"/>
              <a:ext cx="2677456" cy="1076001"/>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tx2"/>
                  </a:solidFill>
                  <a:latin typeface="+mn-lt"/>
                </a:rPr>
                <a:t>Demande croissante portée par l’aéronautique, la défense et l’industrie</a:t>
              </a:r>
            </a:p>
          </p:txBody>
        </p:sp>
        <p:sp>
          <p:nvSpPr>
            <p:cNvPr id="49" name="Growth4" descr="{&quot;Key&quot;:&quot;POWER_USER_SHAPE_ICON&quot;,&quot;Value&quot;:&quot;POWER_USER_SHAPE_ICON_STYLE_1&quot;}">
              <a:extLst>
                <a:ext uri="{FF2B5EF4-FFF2-40B4-BE49-F238E27FC236}">
                  <a16:creationId xmlns:a16="http://schemas.microsoft.com/office/drawing/2014/main" id="{B40172D0-222F-4399-9AEB-9200C3B914A1}"/>
                </a:ext>
              </a:extLst>
            </p:cNvPr>
            <p:cNvSpPr>
              <a:spLocks noChangeAspect="1" noEditPoints="1"/>
            </p:cNvSpPr>
            <p:nvPr/>
          </p:nvSpPr>
          <p:spPr bwMode="auto">
            <a:xfrm>
              <a:off x="4289426" y="1356639"/>
              <a:ext cx="584559" cy="586016"/>
            </a:xfrm>
            <a:custGeom>
              <a:avLst/>
              <a:gdLst>
                <a:gd name="T0" fmla="*/ 856 w 1067"/>
                <a:gd name="T1" fmla="*/ 921 h 1068"/>
                <a:gd name="T2" fmla="*/ 617 w 1067"/>
                <a:gd name="T3" fmla="*/ 1031 h 1068"/>
                <a:gd name="T4" fmla="*/ 234 w 1067"/>
                <a:gd name="T5" fmla="*/ 923 h 1068"/>
                <a:gd name="T6" fmla="*/ 163 w 1067"/>
                <a:gd name="T7" fmla="*/ 723 h 1068"/>
                <a:gd name="T8" fmla="*/ 251 w 1067"/>
                <a:gd name="T9" fmla="*/ 722 h 1068"/>
                <a:gd name="T10" fmla="*/ 587 w 1067"/>
                <a:gd name="T11" fmla="*/ 773 h 1068"/>
                <a:gd name="T12" fmla="*/ 817 w 1067"/>
                <a:gd name="T13" fmla="*/ 799 h 1068"/>
                <a:gd name="T14" fmla="*/ 788 w 1067"/>
                <a:gd name="T15" fmla="*/ 841 h 1068"/>
                <a:gd name="T16" fmla="*/ 618 w 1067"/>
                <a:gd name="T17" fmla="*/ 866 h 1068"/>
                <a:gd name="T18" fmla="*/ 508 w 1067"/>
                <a:gd name="T19" fmla="*/ 860 h 1068"/>
                <a:gd name="T20" fmla="*/ 612 w 1067"/>
                <a:gd name="T21" fmla="*/ 899 h 1068"/>
                <a:gd name="T22" fmla="*/ 655 w 1067"/>
                <a:gd name="T23" fmla="*/ 899 h 1068"/>
                <a:gd name="T24" fmla="*/ 835 w 1067"/>
                <a:gd name="T25" fmla="*/ 850 h 1068"/>
                <a:gd name="T26" fmla="*/ 935 w 1067"/>
                <a:gd name="T27" fmla="*/ 747 h 1068"/>
                <a:gd name="T28" fmla="*/ 876 w 1067"/>
                <a:gd name="T29" fmla="*/ 906 h 1068"/>
                <a:gd name="T30" fmla="*/ 34 w 1067"/>
                <a:gd name="T31" fmla="*/ 978 h 1068"/>
                <a:gd name="T32" fmla="*/ 130 w 1067"/>
                <a:gd name="T33" fmla="*/ 673 h 1068"/>
                <a:gd name="T34" fmla="*/ 354 w 1067"/>
                <a:gd name="T35" fmla="*/ 497 h 1068"/>
                <a:gd name="T36" fmla="*/ 437 w 1067"/>
                <a:gd name="T37" fmla="*/ 676 h 1068"/>
                <a:gd name="T38" fmla="*/ 354 w 1067"/>
                <a:gd name="T39" fmla="*/ 497 h 1068"/>
                <a:gd name="T40" fmla="*/ 786 w 1067"/>
                <a:gd name="T41" fmla="*/ 297 h 1068"/>
                <a:gd name="T42" fmla="*/ 771 w 1067"/>
                <a:gd name="T43" fmla="*/ 737 h 1068"/>
                <a:gd name="T44" fmla="*/ 703 w 1067"/>
                <a:gd name="T45" fmla="*/ 380 h 1068"/>
                <a:gd name="T46" fmla="*/ 669 w 1067"/>
                <a:gd name="T47" fmla="*/ 380 h 1068"/>
                <a:gd name="T48" fmla="*/ 592 w 1067"/>
                <a:gd name="T49" fmla="*/ 740 h 1068"/>
                <a:gd name="T50" fmla="*/ 586 w 1067"/>
                <a:gd name="T51" fmla="*/ 297 h 1068"/>
                <a:gd name="T52" fmla="*/ 470 w 1067"/>
                <a:gd name="T53" fmla="*/ 683 h 1068"/>
                <a:gd name="T54" fmla="*/ 553 w 1067"/>
                <a:gd name="T55" fmla="*/ 297 h 1068"/>
                <a:gd name="T56" fmla="*/ 902 w 1067"/>
                <a:gd name="T57" fmla="*/ 731 h 1068"/>
                <a:gd name="T58" fmla="*/ 819 w 1067"/>
                <a:gd name="T59" fmla="*/ 749 h 1068"/>
                <a:gd name="T60" fmla="*/ 902 w 1067"/>
                <a:gd name="T61" fmla="*/ 181 h 1068"/>
                <a:gd name="T62" fmla="*/ 1063 w 1067"/>
                <a:gd name="T63" fmla="*/ 727 h 1068"/>
                <a:gd name="T64" fmla="*/ 935 w 1067"/>
                <a:gd name="T65" fmla="*/ 708 h 1068"/>
                <a:gd name="T66" fmla="*/ 1012 w 1067"/>
                <a:gd name="T67" fmla="*/ 71 h 1068"/>
                <a:gd name="T68" fmla="*/ 1010 w 1067"/>
                <a:gd name="T69" fmla="*/ 151 h 1068"/>
                <a:gd name="T70" fmla="*/ 1030 w 1067"/>
                <a:gd name="T71" fmla="*/ 139 h 1068"/>
                <a:gd name="T72" fmla="*/ 1053 w 1067"/>
                <a:gd name="T73" fmla="*/ 6 h 1068"/>
                <a:gd name="T74" fmla="*/ 924 w 1067"/>
                <a:gd name="T75" fmla="*/ 33 h 1068"/>
                <a:gd name="T76" fmla="*/ 932 w 1067"/>
                <a:gd name="T77" fmla="*/ 65 h 1068"/>
                <a:gd name="T78" fmla="*/ 686 w 1067"/>
                <a:gd name="T79" fmla="*/ 350 h 1068"/>
                <a:gd name="T80" fmla="*/ 570 w 1067"/>
                <a:gd name="T81" fmla="*/ 240 h 1068"/>
                <a:gd name="T82" fmla="*/ 442 w 1067"/>
                <a:gd name="T83" fmla="*/ 362 h 1068"/>
                <a:gd name="T84" fmla="*/ 224 w 1067"/>
                <a:gd name="T85" fmla="*/ 579 h 1068"/>
                <a:gd name="T86" fmla="*/ 236 w 1067"/>
                <a:gd name="T87" fmla="*/ 608 h 1068"/>
                <a:gd name="T88" fmla="*/ 321 w 1067"/>
                <a:gd name="T89" fmla="*/ 530 h 1068"/>
                <a:gd name="T90" fmla="*/ 242 w 1067"/>
                <a:gd name="T91" fmla="*/ 690 h 1068"/>
                <a:gd name="T92" fmla="*/ 163 w 1067"/>
                <a:gd name="T93" fmla="*/ 656 h 1068"/>
                <a:gd name="T94" fmla="*/ 17 w 1067"/>
                <a:gd name="T95" fmla="*/ 640 h 1068"/>
                <a:gd name="T96" fmla="*/ 0 w 1067"/>
                <a:gd name="T97" fmla="*/ 995 h 1068"/>
                <a:gd name="T98" fmla="*/ 147 w 1067"/>
                <a:gd name="T99" fmla="*/ 1012 h 1068"/>
                <a:gd name="T100" fmla="*/ 163 w 1067"/>
                <a:gd name="T101" fmla="*/ 956 h 1068"/>
                <a:gd name="T102" fmla="*/ 608 w 1067"/>
                <a:gd name="T103" fmla="*/ 1063 h 1068"/>
                <a:gd name="T104" fmla="*/ 682 w 1067"/>
                <a:gd name="T105" fmla="*/ 1062 h 1068"/>
                <a:gd name="T106" fmla="*/ 873 w 1067"/>
                <a:gd name="T107" fmla="*/ 950 h 1068"/>
                <a:gd name="T108" fmla="*/ 1062 w 1067"/>
                <a:gd name="T109" fmla="*/ 750 h 1068"/>
                <a:gd name="T110" fmla="*/ 1063 w 1067"/>
                <a:gd name="T111" fmla="*/ 727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67" h="1068">
                  <a:moveTo>
                    <a:pt x="876" y="906"/>
                  </a:moveTo>
                  <a:cubicBezTo>
                    <a:pt x="870" y="912"/>
                    <a:pt x="863" y="917"/>
                    <a:pt x="856" y="921"/>
                  </a:cubicBezTo>
                  <a:cubicBezTo>
                    <a:pt x="775" y="968"/>
                    <a:pt x="684" y="1023"/>
                    <a:pt x="670" y="1031"/>
                  </a:cubicBezTo>
                  <a:cubicBezTo>
                    <a:pt x="653" y="1036"/>
                    <a:pt x="635" y="1036"/>
                    <a:pt x="617" y="1031"/>
                  </a:cubicBezTo>
                  <a:lnTo>
                    <a:pt x="239" y="924"/>
                  </a:lnTo>
                  <a:cubicBezTo>
                    <a:pt x="237" y="923"/>
                    <a:pt x="236" y="923"/>
                    <a:pt x="234" y="923"/>
                  </a:cubicBezTo>
                  <a:lnTo>
                    <a:pt x="163" y="923"/>
                  </a:lnTo>
                  <a:lnTo>
                    <a:pt x="163" y="723"/>
                  </a:lnTo>
                  <a:lnTo>
                    <a:pt x="245" y="723"/>
                  </a:lnTo>
                  <a:cubicBezTo>
                    <a:pt x="247" y="723"/>
                    <a:pt x="249" y="723"/>
                    <a:pt x="251" y="722"/>
                  </a:cubicBezTo>
                  <a:cubicBezTo>
                    <a:pt x="252" y="721"/>
                    <a:pt x="418" y="658"/>
                    <a:pt x="578" y="770"/>
                  </a:cubicBezTo>
                  <a:cubicBezTo>
                    <a:pt x="581" y="772"/>
                    <a:pt x="584" y="773"/>
                    <a:pt x="587" y="773"/>
                  </a:cubicBezTo>
                  <a:lnTo>
                    <a:pt x="771" y="770"/>
                  </a:lnTo>
                  <a:cubicBezTo>
                    <a:pt x="790" y="771"/>
                    <a:pt x="813" y="776"/>
                    <a:pt x="817" y="799"/>
                  </a:cubicBezTo>
                  <a:cubicBezTo>
                    <a:pt x="819" y="810"/>
                    <a:pt x="816" y="820"/>
                    <a:pt x="809" y="829"/>
                  </a:cubicBezTo>
                  <a:cubicBezTo>
                    <a:pt x="804" y="835"/>
                    <a:pt x="796" y="839"/>
                    <a:pt x="788" y="841"/>
                  </a:cubicBezTo>
                  <a:lnTo>
                    <a:pt x="649" y="866"/>
                  </a:lnTo>
                  <a:cubicBezTo>
                    <a:pt x="639" y="868"/>
                    <a:pt x="628" y="868"/>
                    <a:pt x="618" y="866"/>
                  </a:cubicBezTo>
                  <a:lnTo>
                    <a:pt x="527" y="847"/>
                  </a:lnTo>
                  <a:cubicBezTo>
                    <a:pt x="518" y="845"/>
                    <a:pt x="510" y="851"/>
                    <a:pt x="508" y="860"/>
                  </a:cubicBezTo>
                  <a:cubicBezTo>
                    <a:pt x="506" y="869"/>
                    <a:pt x="512" y="878"/>
                    <a:pt x="521" y="880"/>
                  </a:cubicBezTo>
                  <a:lnTo>
                    <a:pt x="612" y="899"/>
                  </a:lnTo>
                  <a:cubicBezTo>
                    <a:pt x="619" y="900"/>
                    <a:pt x="627" y="901"/>
                    <a:pt x="635" y="901"/>
                  </a:cubicBezTo>
                  <a:cubicBezTo>
                    <a:pt x="641" y="901"/>
                    <a:pt x="648" y="900"/>
                    <a:pt x="655" y="899"/>
                  </a:cubicBezTo>
                  <a:lnTo>
                    <a:pt x="794" y="874"/>
                  </a:lnTo>
                  <a:cubicBezTo>
                    <a:pt x="810" y="871"/>
                    <a:pt x="825" y="862"/>
                    <a:pt x="835" y="850"/>
                  </a:cubicBezTo>
                  <a:cubicBezTo>
                    <a:pt x="842" y="840"/>
                    <a:pt x="847" y="829"/>
                    <a:pt x="849" y="818"/>
                  </a:cubicBezTo>
                  <a:lnTo>
                    <a:pt x="935" y="747"/>
                  </a:lnTo>
                  <a:cubicBezTo>
                    <a:pt x="961" y="726"/>
                    <a:pt x="999" y="723"/>
                    <a:pt x="1026" y="740"/>
                  </a:cubicBezTo>
                  <a:lnTo>
                    <a:pt x="876" y="906"/>
                  </a:lnTo>
                  <a:close/>
                  <a:moveTo>
                    <a:pt x="130" y="978"/>
                  </a:moveTo>
                  <a:lnTo>
                    <a:pt x="34" y="978"/>
                  </a:lnTo>
                  <a:lnTo>
                    <a:pt x="34" y="673"/>
                  </a:lnTo>
                  <a:lnTo>
                    <a:pt x="130" y="673"/>
                  </a:lnTo>
                  <a:lnTo>
                    <a:pt x="130" y="978"/>
                  </a:lnTo>
                  <a:close/>
                  <a:moveTo>
                    <a:pt x="354" y="497"/>
                  </a:moveTo>
                  <a:lnTo>
                    <a:pt x="437" y="414"/>
                  </a:lnTo>
                  <a:lnTo>
                    <a:pt x="437" y="676"/>
                  </a:lnTo>
                  <a:cubicBezTo>
                    <a:pt x="407" y="671"/>
                    <a:pt x="379" y="669"/>
                    <a:pt x="354" y="670"/>
                  </a:cubicBezTo>
                  <a:lnTo>
                    <a:pt x="354" y="497"/>
                  </a:lnTo>
                  <a:close/>
                  <a:moveTo>
                    <a:pt x="703" y="380"/>
                  </a:moveTo>
                  <a:lnTo>
                    <a:pt x="786" y="297"/>
                  </a:lnTo>
                  <a:lnTo>
                    <a:pt x="786" y="738"/>
                  </a:lnTo>
                  <a:cubicBezTo>
                    <a:pt x="781" y="738"/>
                    <a:pt x="776" y="737"/>
                    <a:pt x="771" y="737"/>
                  </a:cubicBezTo>
                  <a:lnTo>
                    <a:pt x="703" y="738"/>
                  </a:lnTo>
                  <a:lnTo>
                    <a:pt x="703" y="380"/>
                  </a:lnTo>
                  <a:close/>
                  <a:moveTo>
                    <a:pt x="586" y="297"/>
                  </a:moveTo>
                  <a:lnTo>
                    <a:pt x="669" y="380"/>
                  </a:lnTo>
                  <a:lnTo>
                    <a:pt x="669" y="739"/>
                  </a:lnTo>
                  <a:lnTo>
                    <a:pt x="592" y="740"/>
                  </a:lnTo>
                  <a:cubicBezTo>
                    <a:pt x="590" y="739"/>
                    <a:pt x="588" y="737"/>
                    <a:pt x="586" y="736"/>
                  </a:cubicBezTo>
                  <a:lnTo>
                    <a:pt x="586" y="297"/>
                  </a:lnTo>
                  <a:close/>
                  <a:moveTo>
                    <a:pt x="553" y="716"/>
                  </a:moveTo>
                  <a:cubicBezTo>
                    <a:pt x="525" y="701"/>
                    <a:pt x="497" y="691"/>
                    <a:pt x="470" y="683"/>
                  </a:cubicBezTo>
                  <a:lnTo>
                    <a:pt x="470" y="380"/>
                  </a:lnTo>
                  <a:lnTo>
                    <a:pt x="553" y="297"/>
                  </a:lnTo>
                  <a:lnTo>
                    <a:pt x="553" y="716"/>
                  </a:lnTo>
                  <a:close/>
                  <a:moveTo>
                    <a:pt x="902" y="731"/>
                  </a:moveTo>
                  <a:lnTo>
                    <a:pt x="845" y="778"/>
                  </a:lnTo>
                  <a:cubicBezTo>
                    <a:pt x="840" y="766"/>
                    <a:pt x="831" y="756"/>
                    <a:pt x="819" y="749"/>
                  </a:cubicBezTo>
                  <a:lnTo>
                    <a:pt x="819" y="264"/>
                  </a:lnTo>
                  <a:lnTo>
                    <a:pt x="902" y="181"/>
                  </a:lnTo>
                  <a:lnTo>
                    <a:pt x="902" y="731"/>
                  </a:lnTo>
                  <a:close/>
                  <a:moveTo>
                    <a:pt x="1063" y="727"/>
                  </a:moveTo>
                  <a:cubicBezTo>
                    <a:pt x="1062" y="726"/>
                    <a:pt x="1058" y="722"/>
                    <a:pt x="1051" y="717"/>
                  </a:cubicBezTo>
                  <a:cubicBezTo>
                    <a:pt x="1017" y="692"/>
                    <a:pt x="973" y="689"/>
                    <a:pt x="935" y="708"/>
                  </a:cubicBezTo>
                  <a:lnTo>
                    <a:pt x="935" y="148"/>
                  </a:lnTo>
                  <a:lnTo>
                    <a:pt x="1012" y="71"/>
                  </a:lnTo>
                  <a:lnTo>
                    <a:pt x="997" y="131"/>
                  </a:lnTo>
                  <a:cubicBezTo>
                    <a:pt x="995" y="140"/>
                    <a:pt x="1001" y="149"/>
                    <a:pt x="1010" y="151"/>
                  </a:cubicBezTo>
                  <a:cubicBezTo>
                    <a:pt x="1011" y="151"/>
                    <a:pt x="1012" y="152"/>
                    <a:pt x="1014" y="152"/>
                  </a:cubicBezTo>
                  <a:cubicBezTo>
                    <a:pt x="1021" y="152"/>
                    <a:pt x="1028" y="146"/>
                    <a:pt x="1030" y="139"/>
                  </a:cubicBezTo>
                  <a:lnTo>
                    <a:pt x="1058" y="22"/>
                  </a:lnTo>
                  <a:cubicBezTo>
                    <a:pt x="1059" y="16"/>
                    <a:pt x="1057" y="10"/>
                    <a:pt x="1053" y="6"/>
                  </a:cubicBezTo>
                  <a:cubicBezTo>
                    <a:pt x="1049" y="2"/>
                    <a:pt x="1043" y="0"/>
                    <a:pt x="1037" y="2"/>
                  </a:cubicBezTo>
                  <a:lnTo>
                    <a:pt x="924" y="33"/>
                  </a:lnTo>
                  <a:cubicBezTo>
                    <a:pt x="915" y="36"/>
                    <a:pt x="910" y="45"/>
                    <a:pt x="912" y="54"/>
                  </a:cubicBezTo>
                  <a:cubicBezTo>
                    <a:pt x="914" y="63"/>
                    <a:pt x="924" y="68"/>
                    <a:pt x="932" y="65"/>
                  </a:cubicBezTo>
                  <a:lnTo>
                    <a:pt x="985" y="51"/>
                  </a:lnTo>
                  <a:lnTo>
                    <a:pt x="686" y="350"/>
                  </a:lnTo>
                  <a:lnTo>
                    <a:pt x="582" y="245"/>
                  </a:lnTo>
                  <a:cubicBezTo>
                    <a:pt x="579" y="242"/>
                    <a:pt x="574" y="240"/>
                    <a:pt x="570" y="240"/>
                  </a:cubicBezTo>
                  <a:cubicBezTo>
                    <a:pt x="565" y="240"/>
                    <a:pt x="561" y="242"/>
                    <a:pt x="558" y="245"/>
                  </a:cubicBezTo>
                  <a:lnTo>
                    <a:pt x="442" y="362"/>
                  </a:lnTo>
                  <a:cubicBezTo>
                    <a:pt x="442" y="362"/>
                    <a:pt x="442" y="362"/>
                    <a:pt x="442" y="362"/>
                  </a:cubicBezTo>
                  <a:lnTo>
                    <a:pt x="224" y="579"/>
                  </a:lnTo>
                  <a:cubicBezTo>
                    <a:pt x="217" y="586"/>
                    <a:pt x="217" y="596"/>
                    <a:pt x="224" y="603"/>
                  </a:cubicBezTo>
                  <a:cubicBezTo>
                    <a:pt x="227" y="606"/>
                    <a:pt x="231" y="608"/>
                    <a:pt x="236" y="608"/>
                  </a:cubicBezTo>
                  <a:cubicBezTo>
                    <a:pt x="240" y="608"/>
                    <a:pt x="244" y="606"/>
                    <a:pt x="247" y="603"/>
                  </a:cubicBezTo>
                  <a:lnTo>
                    <a:pt x="321" y="530"/>
                  </a:lnTo>
                  <a:lnTo>
                    <a:pt x="321" y="672"/>
                  </a:lnTo>
                  <a:cubicBezTo>
                    <a:pt x="280" y="677"/>
                    <a:pt x="251" y="686"/>
                    <a:pt x="242" y="690"/>
                  </a:cubicBezTo>
                  <a:lnTo>
                    <a:pt x="163" y="690"/>
                  </a:lnTo>
                  <a:lnTo>
                    <a:pt x="163" y="656"/>
                  </a:lnTo>
                  <a:cubicBezTo>
                    <a:pt x="163" y="647"/>
                    <a:pt x="156" y="640"/>
                    <a:pt x="147" y="640"/>
                  </a:cubicBezTo>
                  <a:lnTo>
                    <a:pt x="17" y="640"/>
                  </a:lnTo>
                  <a:cubicBezTo>
                    <a:pt x="8" y="640"/>
                    <a:pt x="0" y="647"/>
                    <a:pt x="0" y="656"/>
                  </a:cubicBezTo>
                  <a:lnTo>
                    <a:pt x="0" y="995"/>
                  </a:lnTo>
                  <a:cubicBezTo>
                    <a:pt x="0" y="1004"/>
                    <a:pt x="8" y="1012"/>
                    <a:pt x="17" y="1012"/>
                  </a:cubicBezTo>
                  <a:lnTo>
                    <a:pt x="147" y="1012"/>
                  </a:lnTo>
                  <a:cubicBezTo>
                    <a:pt x="156" y="1012"/>
                    <a:pt x="163" y="1004"/>
                    <a:pt x="163" y="995"/>
                  </a:cubicBezTo>
                  <a:lnTo>
                    <a:pt x="163" y="956"/>
                  </a:lnTo>
                  <a:lnTo>
                    <a:pt x="232" y="956"/>
                  </a:lnTo>
                  <a:lnTo>
                    <a:pt x="608" y="1063"/>
                  </a:lnTo>
                  <a:cubicBezTo>
                    <a:pt x="620" y="1066"/>
                    <a:pt x="632" y="1068"/>
                    <a:pt x="643" y="1068"/>
                  </a:cubicBezTo>
                  <a:cubicBezTo>
                    <a:pt x="656" y="1068"/>
                    <a:pt x="670" y="1066"/>
                    <a:pt x="682" y="1062"/>
                  </a:cubicBezTo>
                  <a:cubicBezTo>
                    <a:pt x="684" y="1061"/>
                    <a:pt x="685" y="1061"/>
                    <a:pt x="686" y="1060"/>
                  </a:cubicBezTo>
                  <a:cubicBezTo>
                    <a:pt x="687" y="1060"/>
                    <a:pt x="785" y="1001"/>
                    <a:pt x="873" y="950"/>
                  </a:cubicBezTo>
                  <a:cubicBezTo>
                    <a:pt x="883" y="944"/>
                    <a:pt x="892" y="937"/>
                    <a:pt x="900" y="928"/>
                  </a:cubicBezTo>
                  <a:lnTo>
                    <a:pt x="1062" y="750"/>
                  </a:lnTo>
                  <a:cubicBezTo>
                    <a:pt x="1065" y="747"/>
                    <a:pt x="1067" y="743"/>
                    <a:pt x="1067" y="739"/>
                  </a:cubicBezTo>
                  <a:cubicBezTo>
                    <a:pt x="1067" y="735"/>
                    <a:pt x="1066" y="730"/>
                    <a:pt x="1063" y="727"/>
                  </a:cubicBezTo>
                </a:path>
              </a:pathLst>
            </a:custGeom>
            <a:solidFill>
              <a:srgbClr val="1B9D91"/>
            </a:solidFill>
            <a:ln>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oupe 12">
            <a:extLst>
              <a:ext uri="{FF2B5EF4-FFF2-40B4-BE49-F238E27FC236}">
                <a16:creationId xmlns:a16="http://schemas.microsoft.com/office/drawing/2014/main" id="{F4CFE06A-127C-40D8-A623-8272E10ED80E}"/>
              </a:ext>
            </a:extLst>
          </p:cNvPr>
          <p:cNvGrpSpPr/>
          <p:nvPr/>
        </p:nvGrpSpPr>
        <p:grpSpPr>
          <a:xfrm>
            <a:off x="6054875" y="4122985"/>
            <a:ext cx="2880000" cy="2060553"/>
            <a:chOff x="6054875" y="4122985"/>
            <a:chExt cx="2880000" cy="2060553"/>
          </a:xfrm>
        </p:grpSpPr>
        <p:sp>
          <p:nvSpPr>
            <p:cNvPr id="36" name="Rectangle 35">
              <a:extLst>
                <a:ext uri="{FF2B5EF4-FFF2-40B4-BE49-F238E27FC236}">
                  <a16:creationId xmlns:a16="http://schemas.microsoft.com/office/drawing/2014/main" id="{1A021749-F96A-4747-9F13-80524E999765}"/>
                </a:ext>
              </a:extLst>
            </p:cNvPr>
            <p:cNvSpPr/>
            <p:nvPr/>
          </p:nvSpPr>
          <p:spPr>
            <a:xfrm>
              <a:off x="6054875" y="4122985"/>
              <a:ext cx="2880000" cy="2060553"/>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Subtitle 6">
              <a:extLst>
                <a:ext uri="{FF2B5EF4-FFF2-40B4-BE49-F238E27FC236}">
                  <a16:creationId xmlns:a16="http://schemas.microsoft.com/office/drawing/2014/main" id="{8CE142CD-1EB2-4FCB-AD2A-6869095BDC75}"/>
                </a:ext>
              </a:extLst>
            </p:cNvPr>
            <p:cNvSpPr txBox="1">
              <a:spLocks/>
            </p:cNvSpPr>
            <p:nvPr/>
          </p:nvSpPr>
          <p:spPr>
            <a:xfrm>
              <a:off x="6439266" y="5047161"/>
              <a:ext cx="2385425" cy="761855"/>
            </a:xfrm>
            <a:prstGeom prst="rect">
              <a:avLst/>
            </a:prstGeom>
          </p:spPr>
          <p:txBody>
            <a:bodyPr vert="horz" lIns="91440" tIns="45720" rIns="91440" bIns="45720" numCol="1" spcCol="365760" rtlCol="0" anchor="ctr">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tx2"/>
                  </a:solidFill>
                  <a:latin typeface="+mn-lt"/>
                </a:rPr>
                <a:t>Prix du marché fluctuant</a:t>
              </a:r>
            </a:p>
          </p:txBody>
        </p:sp>
        <p:grpSp>
          <p:nvGrpSpPr>
            <p:cNvPr id="50" name="Money5" descr="{&quot;Key&quot;:&quot;POWER_USER_SHAPE_ICON&quot;,&quot;Value&quot;:&quot;POWER_USER_SHAPE_ICON_STYLE_1&quot;}">
              <a:extLst>
                <a:ext uri="{FF2B5EF4-FFF2-40B4-BE49-F238E27FC236}">
                  <a16:creationId xmlns:a16="http://schemas.microsoft.com/office/drawing/2014/main" id="{E35A526D-2EB0-49E0-80BD-36BFA1203EBE}"/>
                </a:ext>
              </a:extLst>
            </p:cNvPr>
            <p:cNvGrpSpPr>
              <a:grpSpLocks noChangeAspect="1"/>
            </p:cNvGrpSpPr>
            <p:nvPr/>
          </p:nvGrpSpPr>
          <p:grpSpPr>
            <a:xfrm>
              <a:off x="7151910" y="4253671"/>
              <a:ext cx="773979" cy="643820"/>
              <a:chOff x="5861051" y="2471738"/>
              <a:chExt cx="528638" cy="439738"/>
            </a:xfrm>
            <a:solidFill>
              <a:srgbClr val="1B9D91"/>
            </a:solidFill>
          </p:grpSpPr>
          <p:sp>
            <p:nvSpPr>
              <p:cNvPr id="51" name="Freeform 566">
                <a:extLst>
                  <a:ext uri="{FF2B5EF4-FFF2-40B4-BE49-F238E27FC236}">
                    <a16:creationId xmlns:a16="http://schemas.microsoft.com/office/drawing/2014/main" id="{56A9E736-6F3E-4082-8EE1-5A32913FE414}"/>
                  </a:ext>
                </a:extLst>
              </p:cNvPr>
              <p:cNvSpPr>
                <a:spLocks/>
              </p:cNvSpPr>
              <p:nvPr/>
            </p:nvSpPr>
            <p:spPr bwMode="auto">
              <a:xfrm>
                <a:off x="6175376" y="2700338"/>
                <a:ext cx="85725" cy="115888"/>
              </a:xfrm>
              <a:custGeom>
                <a:avLst/>
                <a:gdLst>
                  <a:gd name="T0" fmla="*/ 59 w 94"/>
                  <a:gd name="T1" fmla="*/ 126 h 126"/>
                  <a:gd name="T2" fmla="*/ 36 w 94"/>
                  <a:gd name="T3" fmla="*/ 126 h 126"/>
                  <a:gd name="T4" fmla="*/ 0 w 94"/>
                  <a:gd name="T5" fmla="*/ 91 h 126"/>
                  <a:gd name="T6" fmla="*/ 8 w 94"/>
                  <a:gd name="T7" fmla="*/ 83 h 126"/>
                  <a:gd name="T8" fmla="*/ 15 w 94"/>
                  <a:gd name="T9" fmla="*/ 91 h 126"/>
                  <a:gd name="T10" fmla="*/ 36 w 94"/>
                  <a:gd name="T11" fmla="*/ 111 h 126"/>
                  <a:gd name="T12" fmla="*/ 59 w 94"/>
                  <a:gd name="T13" fmla="*/ 111 h 126"/>
                  <a:gd name="T14" fmla="*/ 79 w 94"/>
                  <a:gd name="T15" fmla="*/ 91 h 126"/>
                  <a:gd name="T16" fmla="*/ 59 w 94"/>
                  <a:gd name="T17" fmla="*/ 70 h 126"/>
                  <a:gd name="T18" fmla="*/ 36 w 94"/>
                  <a:gd name="T19" fmla="*/ 70 h 126"/>
                  <a:gd name="T20" fmla="*/ 0 w 94"/>
                  <a:gd name="T21" fmla="*/ 35 h 126"/>
                  <a:gd name="T22" fmla="*/ 36 w 94"/>
                  <a:gd name="T23" fmla="*/ 0 h 126"/>
                  <a:gd name="T24" fmla="*/ 59 w 94"/>
                  <a:gd name="T25" fmla="*/ 0 h 126"/>
                  <a:gd name="T26" fmla="*/ 94 w 94"/>
                  <a:gd name="T27" fmla="*/ 35 h 126"/>
                  <a:gd name="T28" fmla="*/ 87 w 94"/>
                  <a:gd name="T29" fmla="*/ 42 h 126"/>
                  <a:gd name="T30" fmla="*/ 79 w 94"/>
                  <a:gd name="T31" fmla="*/ 35 h 126"/>
                  <a:gd name="T32" fmla="*/ 59 w 94"/>
                  <a:gd name="T33" fmla="*/ 14 h 126"/>
                  <a:gd name="T34" fmla="*/ 36 w 94"/>
                  <a:gd name="T35" fmla="*/ 14 h 126"/>
                  <a:gd name="T36" fmla="*/ 15 w 94"/>
                  <a:gd name="T37" fmla="*/ 35 h 126"/>
                  <a:gd name="T38" fmla="*/ 36 w 94"/>
                  <a:gd name="T39" fmla="*/ 55 h 126"/>
                  <a:gd name="T40" fmla="*/ 59 w 94"/>
                  <a:gd name="T41" fmla="*/ 55 h 126"/>
                  <a:gd name="T42" fmla="*/ 94 w 94"/>
                  <a:gd name="T43" fmla="*/ 91 h 126"/>
                  <a:gd name="T44" fmla="*/ 59 w 94"/>
                  <a:gd name="T4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126">
                    <a:moveTo>
                      <a:pt x="59" y="126"/>
                    </a:moveTo>
                    <a:lnTo>
                      <a:pt x="36" y="126"/>
                    </a:lnTo>
                    <a:cubicBezTo>
                      <a:pt x="16" y="126"/>
                      <a:pt x="0" y="110"/>
                      <a:pt x="0" y="91"/>
                    </a:cubicBezTo>
                    <a:cubicBezTo>
                      <a:pt x="0" y="87"/>
                      <a:pt x="4" y="83"/>
                      <a:pt x="8" y="83"/>
                    </a:cubicBezTo>
                    <a:cubicBezTo>
                      <a:pt x="12" y="83"/>
                      <a:pt x="15" y="87"/>
                      <a:pt x="15" y="91"/>
                    </a:cubicBezTo>
                    <a:cubicBezTo>
                      <a:pt x="15" y="102"/>
                      <a:pt x="24" y="111"/>
                      <a:pt x="36" y="111"/>
                    </a:cubicBezTo>
                    <a:lnTo>
                      <a:pt x="59" y="111"/>
                    </a:lnTo>
                    <a:cubicBezTo>
                      <a:pt x="70" y="111"/>
                      <a:pt x="79" y="102"/>
                      <a:pt x="79" y="91"/>
                    </a:cubicBezTo>
                    <a:cubicBezTo>
                      <a:pt x="79" y="79"/>
                      <a:pt x="70" y="70"/>
                      <a:pt x="59" y="70"/>
                    </a:cubicBezTo>
                    <a:lnTo>
                      <a:pt x="36" y="70"/>
                    </a:lnTo>
                    <a:cubicBezTo>
                      <a:pt x="16" y="70"/>
                      <a:pt x="0" y="54"/>
                      <a:pt x="0" y="35"/>
                    </a:cubicBezTo>
                    <a:cubicBezTo>
                      <a:pt x="0" y="15"/>
                      <a:pt x="16" y="0"/>
                      <a:pt x="36" y="0"/>
                    </a:cubicBezTo>
                    <a:lnTo>
                      <a:pt x="59" y="0"/>
                    </a:lnTo>
                    <a:cubicBezTo>
                      <a:pt x="78" y="0"/>
                      <a:pt x="94" y="15"/>
                      <a:pt x="94" y="35"/>
                    </a:cubicBezTo>
                    <a:cubicBezTo>
                      <a:pt x="94" y="39"/>
                      <a:pt x="91" y="42"/>
                      <a:pt x="87" y="42"/>
                    </a:cubicBezTo>
                    <a:cubicBezTo>
                      <a:pt x="83" y="42"/>
                      <a:pt x="79" y="39"/>
                      <a:pt x="79" y="35"/>
                    </a:cubicBezTo>
                    <a:cubicBezTo>
                      <a:pt x="79" y="23"/>
                      <a:pt x="70" y="14"/>
                      <a:pt x="59" y="14"/>
                    </a:cubicBezTo>
                    <a:lnTo>
                      <a:pt x="36" y="14"/>
                    </a:lnTo>
                    <a:cubicBezTo>
                      <a:pt x="24" y="14"/>
                      <a:pt x="15" y="23"/>
                      <a:pt x="15" y="35"/>
                    </a:cubicBezTo>
                    <a:cubicBezTo>
                      <a:pt x="15" y="46"/>
                      <a:pt x="24" y="55"/>
                      <a:pt x="36" y="55"/>
                    </a:cubicBezTo>
                    <a:lnTo>
                      <a:pt x="59" y="55"/>
                    </a:lnTo>
                    <a:cubicBezTo>
                      <a:pt x="78" y="55"/>
                      <a:pt x="94" y="71"/>
                      <a:pt x="94" y="91"/>
                    </a:cubicBezTo>
                    <a:cubicBezTo>
                      <a:pt x="94" y="110"/>
                      <a:pt x="78" y="126"/>
                      <a:pt x="59" y="126"/>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567">
                <a:extLst>
                  <a:ext uri="{FF2B5EF4-FFF2-40B4-BE49-F238E27FC236}">
                    <a16:creationId xmlns:a16="http://schemas.microsoft.com/office/drawing/2014/main" id="{85948C97-C976-484B-8E36-B5DD6B355174}"/>
                  </a:ext>
                </a:extLst>
              </p:cNvPr>
              <p:cNvSpPr>
                <a:spLocks/>
              </p:cNvSpPr>
              <p:nvPr/>
            </p:nvSpPr>
            <p:spPr bwMode="auto">
              <a:xfrm>
                <a:off x="6211889" y="2676525"/>
                <a:ext cx="12700" cy="36513"/>
              </a:xfrm>
              <a:custGeom>
                <a:avLst/>
                <a:gdLst>
                  <a:gd name="T0" fmla="*/ 7 w 14"/>
                  <a:gd name="T1" fmla="*/ 40 h 40"/>
                  <a:gd name="T2" fmla="*/ 0 w 14"/>
                  <a:gd name="T3" fmla="*/ 33 h 40"/>
                  <a:gd name="T4" fmla="*/ 0 w 14"/>
                  <a:gd name="T5" fmla="*/ 7 h 40"/>
                  <a:gd name="T6" fmla="*/ 7 w 14"/>
                  <a:gd name="T7" fmla="*/ 0 h 40"/>
                  <a:gd name="T8" fmla="*/ 14 w 14"/>
                  <a:gd name="T9" fmla="*/ 7 h 40"/>
                  <a:gd name="T10" fmla="*/ 14 w 14"/>
                  <a:gd name="T11" fmla="*/ 33 h 40"/>
                  <a:gd name="T12" fmla="*/ 7 w 1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4" h="40">
                    <a:moveTo>
                      <a:pt x="7" y="40"/>
                    </a:moveTo>
                    <a:cubicBezTo>
                      <a:pt x="3" y="40"/>
                      <a:pt x="0" y="37"/>
                      <a:pt x="0" y="33"/>
                    </a:cubicBezTo>
                    <a:lnTo>
                      <a:pt x="0" y="7"/>
                    </a:lnTo>
                    <a:cubicBezTo>
                      <a:pt x="0" y="3"/>
                      <a:pt x="3" y="0"/>
                      <a:pt x="7" y="0"/>
                    </a:cubicBezTo>
                    <a:cubicBezTo>
                      <a:pt x="11" y="0"/>
                      <a:pt x="14" y="3"/>
                      <a:pt x="14" y="7"/>
                    </a:cubicBezTo>
                    <a:lnTo>
                      <a:pt x="14" y="33"/>
                    </a:lnTo>
                    <a:cubicBezTo>
                      <a:pt x="14" y="37"/>
                      <a:pt x="11" y="40"/>
                      <a:pt x="7" y="40"/>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568">
                <a:extLst>
                  <a:ext uri="{FF2B5EF4-FFF2-40B4-BE49-F238E27FC236}">
                    <a16:creationId xmlns:a16="http://schemas.microsoft.com/office/drawing/2014/main" id="{AF381DEC-CDAE-4C71-9A97-E43DFC6BAD62}"/>
                  </a:ext>
                </a:extLst>
              </p:cNvPr>
              <p:cNvSpPr>
                <a:spLocks/>
              </p:cNvSpPr>
              <p:nvPr/>
            </p:nvSpPr>
            <p:spPr bwMode="auto">
              <a:xfrm>
                <a:off x="6211889" y="2801938"/>
                <a:ext cx="12700" cy="38100"/>
              </a:xfrm>
              <a:custGeom>
                <a:avLst/>
                <a:gdLst>
                  <a:gd name="T0" fmla="*/ 7 w 14"/>
                  <a:gd name="T1" fmla="*/ 41 h 41"/>
                  <a:gd name="T2" fmla="*/ 0 w 14"/>
                  <a:gd name="T3" fmla="*/ 33 h 41"/>
                  <a:gd name="T4" fmla="*/ 0 w 14"/>
                  <a:gd name="T5" fmla="*/ 7 h 41"/>
                  <a:gd name="T6" fmla="*/ 7 w 14"/>
                  <a:gd name="T7" fmla="*/ 0 h 41"/>
                  <a:gd name="T8" fmla="*/ 14 w 14"/>
                  <a:gd name="T9" fmla="*/ 7 h 41"/>
                  <a:gd name="T10" fmla="*/ 14 w 14"/>
                  <a:gd name="T11" fmla="*/ 33 h 41"/>
                  <a:gd name="T12" fmla="*/ 7 w 14"/>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4" h="41">
                    <a:moveTo>
                      <a:pt x="7" y="41"/>
                    </a:moveTo>
                    <a:cubicBezTo>
                      <a:pt x="3" y="41"/>
                      <a:pt x="0" y="37"/>
                      <a:pt x="0" y="33"/>
                    </a:cubicBezTo>
                    <a:lnTo>
                      <a:pt x="0" y="7"/>
                    </a:lnTo>
                    <a:cubicBezTo>
                      <a:pt x="0" y="3"/>
                      <a:pt x="3" y="0"/>
                      <a:pt x="7" y="0"/>
                    </a:cubicBezTo>
                    <a:cubicBezTo>
                      <a:pt x="11" y="0"/>
                      <a:pt x="14" y="3"/>
                      <a:pt x="14" y="7"/>
                    </a:cubicBezTo>
                    <a:lnTo>
                      <a:pt x="14" y="33"/>
                    </a:lnTo>
                    <a:cubicBezTo>
                      <a:pt x="14" y="37"/>
                      <a:pt x="11" y="41"/>
                      <a:pt x="7" y="41"/>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569">
                <a:extLst>
                  <a:ext uri="{FF2B5EF4-FFF2-40B4-BE49-F238E27FC236}">
                    <a16:creationId xmlns:a16="http://schemas.microsoft.com/office/drawing/2014/main" id="{2FE234DB-730F-4BAC-A720-97D9D251E246}"/>
                  </a:ext>
                </a:extLst>
              </p:cNvPr>
              <p:cNvSpPr>
                <a:spLocks/>
              </p:cNvSpPr>
              <p:nvPr/>
            </p:nvSpPr>
            <p:spPr bwMode="auto">
              <a:xfrm>
                <a:off x="6105526" y="2471738"/>
                <a:ext cx="223838" cy="93663"/>
              </a:xfrm>
              <a:custGeom>
                <a:avLst/>
                <a:gdLst>
                  <a:gd name="T0" fmla="*/ 183 w 244"/>
                  <a:gd name="T1" fmla="*/ 102 h 102"/>
                  <a:gd name="T2" fmla="*/ 176 w 244"/>
                  <a:gd name="T3" fmla="*/ 95 h 102"/>
                  <a:gd name="T4" fmla="*/ 218 w 244"/>
                  <a:gd name="T5" fmla="*/ 50 h 102"/>
                  <a:gd name="T6" fmla="*/ 227 w 244"/>
                  <a:gd name="T7" fmla="*/ 42 h 102"/>
                  <a:gd name="T8" fmla="*/ 227 w 244"/>
                  <a:gd name="T9" fmla="*/ 33 h 102"/>
                  <a:gd name="T10" fmla="*/ 216 w 244"/>
                  <a:gd name="T11" fmla="*/ 30 h 102"/>
                  <a:gd name="T12" fmla="*/ 171 w 244"/>
                  <a:gd name="T13" fmla="*/ 21 h 102"/>
                  <a:gd name="T14" fmla="*/ 143 w 244"/>
                  <a:gd name="T15" fmla="*/ 26 h 102"/>
                  <a:gd name="T16" fmla="*/ 122 w 244"/>
                  <a:gd name="T17" fmla="*/ 29 h 102"/>
                  <a:gd name="T18" fmla="*/ 101 w 244"/>
                  <a:gd name="T19" fmla="*/ 26 h 102"/>
                  <a:gd name="T20" fmla="*/ 73 w 244"/>
                  <a:gd name="T21" fmla="*/ 21 h 102"/>
                  <a:gd name="T22" fmla="*/ 29 w 244"/>
                  <a:gd name="T23" fmla="*/ 30 h 102"/>
                  <a:gd name="T24" fmla="*/ 18 w 244"/>
                  <a:gd name="T25" fmla="*/ 33 h 102"/>
                  <a:gd name="T26" fmla="*/ 18 w 244"/>
                  <a:gd name="T27" fmla="*/ 42 h 102"/>
                  <a:gd name="T28" fmla="*/ 26 w 244"/>
                  <a:gd name="T29" fmla="*/ 50 h 102"/>
                  <a:gd name="T30" fmla="*/ 68 w 244"/>
                  <a:gd name="T31" fmla="*/ 95 h 102"/>
                  <a:gd name="T32" fmla="*/ 61 w 244"/>
                  <a:gd name="T33" fmla="*/ 102 h 102"/>
                  <a:gd name="T34" fmla="*/ 54 w 244"/>
                  <a:gd name="T35" fmla="*/ 96 h 102"/>
                  <a:gd name="T36" fmla="*/ 17 w 244"/>
                  <a:gd name="T37" fmla="*/ 61 h 102"/>
                  <a:gd name="T38" fmla="*/ 4 w 244"/>
                  <a:gd name="T39" fmla="*/ 48 h 102"/>
                  <a:gd name="T40" fmla="*/ 5 w 244"/>
                  <a:gd name="T41" fmla="*/ 26 h 102"/>
                  <a:gd name="T42" fmla="*/ 29 w 244"/>
                  <a:gd name="T43" fmla="*/ 16 h 102"/>
                  <a:gd name="T44" fmla="*/ 63 w 244"/>
                  <a:gd name="T45" fmla="*/ 10 h 102"/>
                  <a:gd name="T46" fmla="*/ 109 w 244"/>
                  <a:gd name="T47" fmla="*/ 13 h 102"/>
                  <a:gd name="T48" fmla="*/ 120 w 244"/>
                  <a:gd name="T49" fmla="*/ 14 h 102"/>
                  <a:gd name="T50" fmla="*/ 124 w 244"/>
                  <a:gd name="T51" fmla="*/ 14 h 102"/>
                  <a:gd name="T52" fmla="*/ 136 w 244"/>
                  <a:gd name="T53" fmla="*/ 13 h 102"/>
                  <a:gd name="T54" fmla="*/ 181 w 244"/>
                  <a:gd name="T55" fmla="*/ 10 h 102"/>
                  <a:gd name="T56" fmla="*/ 216 w 244"/>
                  <a:gd name="T57" fmla="*/ 16 h 102"/>
                  <a:gd name="T58" fmla="*/ 239 w 244"/>
                  <a:gd name="T59" fmla="*/ 26 h 102"/>
                  <a:gd name="T60" fmla="*/ 240 w 244"/>
                  <a:gd name="T61" fmla="*/ 48 h 102"/>
                  <a:gd name="T62" fmla="*/ 228 w 244"/>
                  <a:gd name="T63" fmla="*/ 61 h 102"/>
                  <a:gd name="T64" fmla="*/ 190 w 244"/>
                  <a:gd name="T65" fmla="*/ 96 h 102"/>
                  <a:gd name="T66" fmla="*/ 183 w 244"/>
                  <a:gd name="T6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4" h="102">
                    <a:moveTo>
                      <a:pt x="183" y="102"/>
                    </a:moveTo>
                    <a:cubicBezTo>
                      <a:pt x="179" y="102"/>
                      <a:pt x="176" y="99"/>
                      <a:pt x="176" y="95"/>
                    </a:cubicBezTo>
                    <a:cubicBezTo>
                      <a:pt x="176" y="89"/>
                      <a:pt x="182" y="81"/>
                      <a:pt x="218" y="50"/>
                    </a:cubicBezTo>
                    <a:cubicBezTo>
                      <a:pt x="221" y="47"/>
                      <a:pt x="225" y="44"/>
                      <a:pt x="227" y="42"/>
                    </a:cubicBezTo>
                    <a:cubicBezTo>
                      <a:pt x="227" y="40"/>
                      <a:pt x="228" y="36"/>
                      <a:pt x="227" y="33"/>
                    </a:cubicBezTo>
                    <a:cubicBezTo>
                      <a:pt x="225" y="31"/>
                      <a:pt x="221" y="30"/>
                      <a:pt x="216" y="30"/>
                    </a:cubicBezTo>
                    <a:cubicBezTo>
                      <a:pt x="188" y="30"/>
                      <a:pt x="179" y="29"/>
                      <a:pt x="171" y="21"/>
                    </a:cubicBezTo>
                    <a:cubicBezTo>
                      <a:pt x="168" y="18"/>
                      <a:pt x="153" y="20"/>
                      <a:pt x="143" y="26"/>
                    </a:cubicBezTo>
                    <a:cubicBezTo>
                      <a:pt x="136" y="30"/>
                      <a:pt x="128" y="30"/>
                      <a:pt x="122" y="29"/>
                    </a:cubicBezTo>
                    <a:cubicBezTo>
                      <a:pt x="116" y="30"/>
                      <a:pt x="109" y="30"/>
                      <a:pt x="101" y="26"/>
                    </a:cubicBezTo>
                    <a:cubicBezTo>
                      <a:pt x="91" y="20"/>
                      <a:pt x="76" y="18"/>
                      <a:pt x="73" y="21"/>
                    </a:cubicBezTo>
                    <a:cubicBezTo>
                      <a:pt x="65" y="29"/>
                      <a:pt x="56" y="30"/>
                      <a:pt x="29" y="30"/>
                    </a:cubicBezTo>
                    <a:cubicBezTo>
                      <a:pt x="23" y="30"/>
                      <a:pt x="19" y="31"/>
                      <a:pt x="18" y="33"/>
                    </a:cubicBezTo>
                    <a:cubicBezTo>
                      <a:pt x="16" y="36"/>
                      <a:pt x="17" y="40"/>
                      <a:pt x="18" y="42"/>
                    </a:cubicBezTo>
                    <a:cubicBezTo>
                      <a:pt x="19" y="44"/>
                      <a:pt x="23" y="47"/>
                      <a:pt x="26" y="50"/>
                    </a:cubicBezTo>
                    <a:cubicBezTo>
                      <a:pt x="62" y="81"/>
                      <a:pt x="68" y="89"/>
                      <a:pt x="68" y="95"/>
                    </a:cubicBezTo>
                    <a:cubicBezTo>
                      <a:pt x="68" y="99"/>
                      <a:pt x="65" y="102"/>
                      <a:pt x="61" y="102"/>
                    </a:cubicBezTo>
                    <a:cubicBezTo>
                      <a:pt x="58" y="102"/>
                      <a:pt x="55" y="100"/>
                      <a:pt x="54" y="96"/>
                    </a:cubicBezTo>
                    <a:cubicBezTo>
                      <a:pt x="51" y="90"/>
                      <a:pt x="26" y="69"/>
                      <a:pt x="17" y="61"/>
                    </a:cubicBezTo>
                    <a:cubicBezTo>
                      <a:pt x="6" y="52"/>
                      <a:pt x="5" y="50"/>
                      <a:pt x="4" y="48"/>
                    </a:cubicBezTo>
                    <a:cubicBezTo>
                      <a:pt x="3" y="44"/>
                      <a:pt x="0" y="34"/>
                      <a:pt x="5" y="26"/>
                    </a:cubicBezTo>
                    <a:cubicBezTo>
                      <a:pt x="10" y="19"/>
                      <a:pt x="17" y="16"/>
                      <a:pt x="29" y="16"/>
                    </a:cubicBezTo>
                    <a:cubicBezTo>
                      <a:pt x="57" y="16"/>
                      <a:pt x="59" y="14"/>
                      <a:pt x="63" y="10"/>
                    </a:cubicBezTo>
                    <a:cubicBezTo>
                      <a:pt x="73" y="0"/>
                      <a:pt x="98" y="7"/>
                      <a:pt x="109" y="13"/>
                    </a:cubicBezTo>
                    <a:cubicBezTo>
                      <a:pt x="112" y="16"/>
                      <a:pt x="117" y="15"/>
                      <a:pt x="120" y="14"/>
                    </a:cubicBezTo>
                    <a:cubicBezTo>
                      <a:pt x="122" y="14"/>
                      <a:pt x="123" y="14"/>
                      <a:pt x="124" y="14"/>
                    </a:cubicBezTo>
                    <a:cubicBezTo>
                      <a:pt x="127" y="15"/>
                      <a:pt x="132" y="16"/>
                      <a:pt x="136" y="13"/>
                    </a:cubicBezTo>
                    <a:cubicBezTo>
                      <a:pt x="146" y="7"/>
                      <a:pt x="171" y="0"/>
                      <a:pt x="181" y="10"/>
                    </a:cubicBezTo>
                    <a:cubicBezTo>
                      <a:pt x="185" y="14"/>
                      <a:pt x="188" y="16"/>
                      <a:pt x="216" y="16"/>
                    </a:cubicBezTo>
                    <a:cubicBezTo>
                      <a:pt x="227" y="16"/>
                      <a:pt x="235" y="19"/>
                      <a:pt x="239" y="26"/>
                    </a:cubicBezTo>
                    <a:cubicBezTo>
                      <a:pt x="244" y="34"/>
                      <a:pt x="242" y="44"/>
                      <a:pt x="240" y="48"/>
                    </a:cubicBezTo>
                    <a:cubicBezTo>
                      <a:pt x="240" y="50"/>
                      <a:pt x="238" y="52"/>
                      <a:pt x="228" y="61"/>
                    </a:cubicBezTo>
                    <a:cubicBezTo>
                      <a:pt x="218" y="69"/>
                      <a:pt x="194" y="90"/>
                      <a:pt x="190" y="96"/>
                    </a:cubicBezTo>
                    <a:cubicBezTo>
                      <a:pt x="190" y="100"/>
                      <a:pt x="187" y="102"/>
                      <a:pt x="183" y="102"/>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570">
                <a:extLst>
                  <a:ext uri="{FF2B5EF4-FFF2-40B4-BE49-F238E27FC236}">
                    <a16:creationId xmlns:a16="http://schemas.microsoft.com/office/drawing/2014/main" id="{C01C9196-65BE-4D87-93B6-496859D23FAC}"/>
                  </a:ext>
                </a:extLst>
              </p:cNvPr>
              <p:cNvSpPr>
                <a:spLocks noEditPoints="1"/>
              </p:cNvSpPr>
              <p:nvPr/>
            </p:nvSpPr>
            <p:spPr bwMode="auto">
              <a:xfrm>
                <a:off x="6140451" y="2552700"/>
                <a:ext cx="153988" cy="60325"/>
              </a:xfrm>
              <a:custGeom>
                <a:avLst/>
                <a:gdLst>
                  <a:gd name="T0" fmla="*/ 33 w 170"/>
                  <a:gd name="T1" fmla="*/ 14 h 66"/>
                  <a:gd name="T2" fmla="*/ 15 w 170"/>
                  <a:gd name="T3" fmla="*/ 33 h 66"/>
                  <a:gd name="T4" fmla="*/ 33 w 170"/>
                  <a:gd name="T5" fmla="*/ 52 h 66"/>
                  <a:gd name="T6" fmla="*/ 137 w 170"/>
                  <a:gd name="T7" fmla="*/ 52 h 66"/>
                  <a:gd name="T8" fmla="*/ 156 w 170"/>
                  <a:gd name="T9" fmla="*/ 33 h 66"/>
                  <a:gd name="T10" fmla="*/ 137 w 170"/>
                  <a:gd name="T11" fmla="*/ 14 h 66"/>
                  <a:gd name="T12" fmla="*/ 33 w 170"/>
                  <a:gd name="T13" fmla="*/ 14 h 66"/>
                  <a:gd name="T14" fmla="*/ 137 w 170"/>
                  <a:gd name="T15" fmla="*/ 66 h 66"/>
                  <a:gd name="T16" fmla="*/ 33 w 170"/>
                  <a:gd name="T17" fmla="*/ 66 h 66"/>
                  <a:gd name="T18" fmla="*/ 0 w 170"/>
                  <a:gd name="T19" fmla="*/ 33 h 66"/>
                  <a:gd name="T20" fmla="*/ 33 w 170"/>
                  <a:gd name="T21" fmla="*/ 0 h 66"/>
                  <a:gd name="T22" fmla="*/ 137 w 170"/>
                  <a:gd name="T23" fmla="*/ 0 h 66"/>
                  <a:gd name="T24" fmla="*/ 170 w 170"/>
                  <a:gd name="T25" fmla="*/ 33 h 66"/>
                  <a:gd name="T26" fmla="*/ 137 w 170"/>
                  <a:gd name="T2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66">
                    <a:moveTo>
                      <a:pt x="33" y="14"/>
                    </a:moveTo>
                    <a:cubicBezTo>
                      <a:pt x="23" y="14"/>
                      <a:pt x="15" y="23"/>
                      <a:pt x="15" y="33"/>
                    </a:cubicBezTo>
                    <a:cubicBezTo>
                      <a:pt x="15" y="43"/>
                      <a:pt x="23" y="52"/>
                      <a:pt x="33" y="52"/>
                    </a:cubicBezTo>
                    <a:lnTo>
                      <a:pt x="137" y="52"/>
                    </a:lnTo>
                    <a:cubicBezTo>
                      <a:pt x="148" y="52"/>
                      <a:pt x="156" y="43"/>
                      <a:pt x="156" y="33"/>
                    </a:cubicBezTo>
                    <a:cubicBezTo>
                      <a:pt x="156" y="23"/>
                      <a:pt x="148" y="14"/>
                      <a:pt x="137" y="14"/>
                    </a:cubicBezTo>
                    <a:lnTo>
                      <a:pt x="33" y="14"/>
                    </a:lnTo>
                    <a:close/>
                    <a:moveTo>
                      <a:pt x="137" y="66"/>
                    </a:moveTo>
                    <a:lnTo>
                      <a:pt x="33" y="66"/>
                    </a:lnTo>
                    <a:cubicBezTo>
                      <a:pt x="15" y="66"/>
                      <a:pt x="0" y="51"/>
                      <a:pt x="0" y="33"/>
                    </a:cubicBezTo>
                    <a:cubicBezTo>
                      <a:pt x="0" y="15"/>
                      <a:pt x="15" y="0"/>
                      <a:pt x="33" y="0"/>
                    </a:cubicBezTo>
                    <a:lnTo>
                      <a:pt x="137" y="0"/>
                    </a:lnTo>
                    <a:cubicBezTo>
                      <a:pt x="156" y="0"/>
                      <a:pt x="170" y="15"/>
                      <a:pt x="170" y="33"/>
                    </a:cubicBezTo>
                    <a:cubicBezTo>
                      <a:pt x="170" y="51"/>
                      <a:pt x="156" y="66"/>
                      <a:pt x="137" y="66"/>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571">
                <a:extLst>
                  <a:ext uri="{FF2B5EF4-FFF2-40B4-BE49-F238E27FC236}">
                    <a16:creationId xmlns:a16="http://schemas.microsoft.com/office/drawing/2014/main" id="{0EABC213-15C8-4236-B27B-BFCECAD572C3}"/>
                  </a:ext>
                </a:extLst>
              </p:cNvPr>
              <p:cNvSpPr>
                <a:spLocks/>
              </p:cNvSpPr>
              <p:nvPr/>
            </p:nvSpPr>
            <p:spPr bwMode="auto">
              <a:xfrm>
                <a:off x="6130926" y="2598738"/>
                <a:ext cx="258763" cy="312738"/>
              </a:xfrm>
              <a:custGeom>
                <a:avLst/>
                <a:gdLst>
                  <a:gd name="T0" fmla="*/ 95 w 283"/>
                  <a:gd name="T1" fmla="*/ 341 h 341"/>
                  <a:gd name="T2" fmla="*/ 6 w 283"/>
                  <a:gd name="T3" fmla="*/ 319 h 341"/>
                  <a:gd name="T4" fmla="*/ 1 w 283"/>
                  <a:gd name="T5" fmla="*/ 310 h 341"/>
                  <a:gd name="T6" fmla="*/ 11 w 283"/>
                  <a:gd name="T7" fmla="*/ 306 h 341"/>
                  <a:gd name="T8" fmla="*/ 95 w 283"/>
                  <a:gd name="T9" fmla="*/ 326 h 341"/>
                  <a:gd name="T10" fmla="*/ 180 w 283"/>
                  <a:gd name="T11" fmla="*/ 306 h 341"/>
                  <a:gd name="T12" fmla="*/ 229 w 283"/>
                  <a:gd name="T13" fmla="*/ 299 h 341"/>
                  <a:gd name="T14" fmla="*/ 251 w 283"/>
                  <a:gd name="T15" fmla="*/ 300 h 341"/>
                  <a:gd name="T16" fmla="*/ 265 w 283"/>
                  <a:gd name="T17" fmla="*/ 292 h 341"/>
                  <a:gd name="T18" fmla="*/ 257 w 283"/>
                  <a:gd name="T19" fmla="*/ 274 h 341"/>
                  <a:gd name="T20" fmla="*/ 237 w 283"/>
                  <a:gd name="T21" fmla="*/ 163 h 341"/>
                  <a:gd name="T22" fmla="*/ 234 w 283"/>
                  <a:gd name="T23" fmla="*/ 128 h 341"/>
                  <a:gd name="T24" fmla="*/ 143 w 283"/>
                  <a:gd name="T25" fmla="*/ 14 h 341"/>
                  <a:gd name="T26" fmla="*/ 141 w 283"/>
                  <a:gd name="T27" fmla="*/ 4 h 341"/>
                  <a:gd name="T28" fmla="*/ 151 w 283"/>
                  <a:gd name="T29" fmla="*/ 2 h 341"/>
                  <a:gd name="T30" fmla="*/ 249 w 283"/>
                  <a:gd name="T31" fmla="*/ 127 h 341"/>
                  <a:gd name="T32" fmla="*/ 252 w 283"/>
                  <a:gd name="T33" fmla="*/ 162 h 341"/>
                  <a:gd name="T34" fmla="*/ 268 w 283"/>
                  <a:gd name="T35" fmla="*/ 264 h 341"/>
                  <a:gd name="T36" fmla="*/ 279 w 283"/>
                  <a:gd name="T37" fmla="*/ 296 h 341"/>
                  <a:gd name="T38" fmla="*/ 254 w 283"/>
                  <a:gd name="T39" fmla="*/ 314 h 341"/>
                  <a:gd name="T40" fmla="*/ 226 w 283"/>
                  <a:gd name="T41" fmla="*/ 313 h 341"/>
                  <a:gd name="T42" fmla="*/ 185 w 283"/>
                  <a:gd name="T43" fmla="*/ 319 h 341"/>
                  <a:gd name="T44" fmla="*/ 95 w 283"/>
                  <a:gd name="T4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3" h="341">
                    <a:moveTo>
                      <a:pt x="95" y="341"/>
                    </a:moveTo>
                    <a:cubicBezTo>
                      <a:pt x="71" y="341"/>
                      <a:pt x="44" y="334"/>
                      <a:pt x="6" y="319"/>
                    </a:cubicBezTo>
                    <a:cubicBezTo>
                      <a:pt x="2" y="318"/>
                      <a:pt x="0" y="313"/>
                      <a:pt x="1" y="310"/>
                    </a:cubicBezTo>
                    <a:cubicBezTo>
                      <a:pt x="3" y="306"/>
                      <a:pt x="7" y="304"/>
                      <a:pt x="11" y="306"/>
                    </a:cubicBezTo>
                    <a:cubicBezTo>
                      <a:pt x="48" y="320"/>
                      <a:pt x="73" y="326"/>
                      <a:pt x="95" y="326"/>
                    </a:cubicBezTo>
                    <a:cubicBezTo>
                      <a:pt x="117" y="326"/>
                      <a:pt x="143" y="320"/>
                      <a:pt x="180" y="306"/>
                    </a:cubicBezTo>
                    <a:cubicBezTo>
                      <a:pt x="206" y="295"/>
                      <a:pt x="217" y="297"/>
                      <a:pt x="229" y="299"/>
                    </a:cubicBezTo>
                    <a:cubicBezTo>
                      <a:pt x="235" y="300"/>
                      <a:pt x="241" y="301"/>
                      <a:pt x="251" y="300"/>
                    </a:cubicBezTo>
                    <a:cubicBezTo>
                      <a:pt x="256" y="299"/>
                      <a:pt x="263" y="297"/>
                      <a:pt x="265" y="292"/>
                    </a:cubicBezTo>
                    <a:cubicBezTo>
                      <a:pt x="266" y="288"/>
                      <a:pt x="263" y="280"/>
                      <a:pt x="257" y="274"/>
                    </a:cubicBezTo>
                    <a:cubicBezTo>
                      <a:pt x="246" y="263"/>
                      <a:pt x="243" y="225"/>
                      <a:pt x="237" y="163"/>
                    </a:cubicBezTo>
                    <a:cubicBezTo>
                      <a:pt x="236" y="152"/>
                      <a:pt x="236" y="140"/>
                      <a:pt x="234" y="128"/>
                    </a:cubicBezTo>
                    <a:cubicBezTo>
                      <a:pt x="229" y="72"/>
                      <a:pt x="144" y="15"/>
                      <a:pt x="143" y="14"/>
                    </a:cubicBezTo>
                    <a:cubicBezTo>
                      <a:pt x="140" y="12"/>
                      <a:pt x="139" y="7"/>
                      <a:pt x="141" y="4"/>
                    </a:cubicBezTo>
                    <a:cubicBezTo>
                      <a:pt x="143" y="0"/>
                      <a:pt x="148" y="0"/>
                      <a:pt x="151" y="2"/>
                    </a:cubicBezTo>
                    <a:cubicBezTo>
                      <a:pt x="155" y="4"/>
                      <a:pt x="243" y="64"/>
                      <a:pt x="249" y="127"/>
                    </a:cubicBezTo>
                    <a:cubicBezTo>
                      <a:pt x="250" y="138"/>
                      <a:pt x="251" y="150"/>
                      <a:pt x="252" y="162"/>
                    </a:cubicBezTo>
                    <a:cubicBezTo>
                      <a:pt x="255" y="204"/>
                      <a:pt x="260" y="256"/>
                      <a:pt x="268" y="264"/>
                    </a:cubicBezTo>
                    <a:cubicBezTo>
                      <a:pt x="276" y="272"/>
                      <a:pt x="283" y="285"/>
                      <a:pt x="279" y="296"/>
                    </a:cubicBezTo>
                    <a:cubicBezTo>
                      <a:pt x="277" y="303"/>
                      <a:pt x="271" y="311"/>
                      <a:pt x="254" y="314"/>
                    </a:cubicBezTo>
                    <a:cubicBezTo>
                      <a:pt x="241" y="316"/>
                      <a:pt x="233" y="315"/>
                      <a:pt x="226" y="313"/>
                    </a:cubicBezTo>
                    <a:cubicBezTo>
                      <a:pt x="216" y="312"/>
                      <a:pt x="207" y="310"/>
                      <a:pt x="185" y="319"/>
                    </a:cubicBezTo>
                    <a:cubicBezTo>
                      <a:pt x="146" y="334"/>
                      <a:pt x="119" y="341"/>
                      <a:pt x="95" y="341"/>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572">
                <a:extLst>
                  <a:ext uri="{FF2B5EF4-FFF2-40B4-BE49-F238E27FC236}">
                    <a16:creationId xmlns:a16="http://schemas.microsoft.com/office/drawing/2014/main" id="{0EE97D2F-6CB1-4412-9B7E-9BA94A64EA64}"/>
                  </a:ext>
                </a:extLst>
              </p:cNvPr>
              <p:cNvSpPr>
                <a:spLocks/>
              </p:cNvSpPr>
              <p:nvPr/>
            </p:nvSpPr>
            <p:spPr bwMode="auto">
              <a:xfrm>
                <a:off x="6078539" y="2598738"/>
                <a:ext cx="98425" cy="114300"/>
              </a:xfrm>
              <a:custGeom>
                <a:avLst/>
                <a:gdLst>
                  <a:gd name="T0" fmla="*/ 8 w 108"/>
                  <a:gd name="T1" fmla="*/ 124 h 124"/>
                  <a:gd name="T2" fmla="*/ 6 w 108"/>
                  <a:gd name="T3" fmla="*/ 123 h 124"/>
                  <a:gd name="T4" fmla="*/ 1 w 108"/>
                  <a:gd name="T5" fmla="*/ 115 h 124"/>
                  <a:gd name="T6" fmla="*/ 96 w 108"/>
                  <a:gd name="T7" fmla="*/ 2 h 124"/>
                  <a:gd name="T8" fmla="*/ 106 w 108"/>
                  <a:gd name="T9" fmla="*/ 4 h 124"/>
                  <a:gd name="T10" fmla="*/ 104 w 108"/>
                  <a:gd name="T11" fmla="*/ 14 h 124"/>
                  <a:gd name="T12" fmla="*/ 15 w 108"/>
                  <a:gd name="T13" fmla="*/ 118 h 124"/>
                  <a:gd name="T14" fmla="*/ 8 w 108"/>
                  <a:gd name="T15" fmla="*/ 124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24">
                    <a:moveTo>
                      <a:pt x="8" y="124"/>
                    </a:moveTo>
                    <a:cubicBezTo>
                      <a:pt x="7" y="124"/>
                      <a:pt x="6" y="124"/>
                      <a:pt x="6" y="123"/>
                    </a:cubicBezTo>
                    <a:cubicBezTo>
                      <a:pt x="2" y="122"/>
                      <a:pt x="0" y="118"/>
                      <a:pt x="1" y="115"/>
                    </a:cubicBezTo>
                    <a:cubicBezTo>
                      <a:pt x="16" y="56"/>
                      <a:pt x="93" y="4"/>
                      <a:pt x="96" y="2"/>
                    </a:cubicBezTo>
                    <a:cubicBezTo>
                      <a:pt x="99" y="0"/>
                      <a:pt x="104" y="0"/>
                      <a:pt x="106" y="4"/>
                    </a:cubicBezTo>
                    <a:cubicBezTo>
                      <a:pt x="108" y="7"/>
                      <a:pt x="108" y="12"/>
                      <a:pt x="104" y="14"/>
                    </a:cubicBezTo>
                    <a:cubicBezTo>
                      <a:pt x="103" y="14"/>
                      <a:pt x="28" y="65"/>
                      <a:pt x="15" y="118"/>
                    </a:cubicBezTo>
                    <a:cubicBezTo>
                      <a:pt x="14" y="121"/>
                      <a:pt x="11" y="124"/>
                      <a:pt x="8" y="124"/>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573">
                <a:extLst>
                  <a:ext uri="{FF2B5EF4-FFF2-40B4-BE49-F238E27FC236}">
                    <a16:creationId xmlns:a16="http://schemas.microsoft.com/office/drawing/2014/main" id="{8E26438E-57CC-4CBB-AA27-BED07F253CDF}"/>
                  </a:ext>
                </a:extLst>
              </p:cNvPr>
              <p:cNvSpPr>
                <a:spLocks/>
              </p:cNvSpPr>
              <p:nvPr/>
            </p:nvSpPr>
            <p:spPr bwMode="auto">
              <a:xfrm>
                <a:off x="5975351" y="2855913"/>
                <a:ext cx="133350" cy="55563"/>
              </a:xfrm>
              <a:custGeom>
                <a:avLst/>
                <a:gdLst>
                  <a:gd name="T0" fmla="*/ 137 w 145"/>
                  <a:gd name="T1" fmla="*/ 60 h 60"/>
                  <a:gd name="T2" fmla="*/ 7 w 145"/>
                  <a:gd name="T3" fmla="*/ 60 h 60"/>
                  <a:gd name="T4" fmla="*/ 0 w 145"/>
                  <a:gd name="T5" fmla="*/ 53 h 60"/>
                  <a:gd name="T6" fmla="*/ 0 w 145"/>
                  <a:gd name="T7" fmla="*/ 39 h 60"/>
                  <a:gd name="T8" fmla="*/ 7 w 145"/>
                  <a:gd name="T9" fmla="*/ 32 h 60"/>
                  <a:gd name="T10" fmla="*/ 14 w 145"/>
                  <a:gd name="T11" fmla="*/ 39 h 60"/>
                  <a:gd name="T12" fmla="*/ 14 w 145"/>
                  <a:gd name="T13" fmla="*/ 45 h 60"/>
                  <a:gd name="T14" fmla="*/ 130 w 145"/>
                  <a:gd name="T15" fmla="*/ 45 h 60"/>
                  <a:gd name="T16" fmla="*/ 130 w 145"/>
                  <a:gd name="T17" fmla="*/ 15 h 60"/>
                  <a:gd name="T18" fmla="*/ 34 w 145"/>
                  <a:gd name="T19" fmla="*/ 15 h 60"/>
                  <a:gd name="T20" fmla="*/ 27 w 145"/>
                  <a:gd name="T21" fmla="*/ 8 h 60"/>
                  <a:gd name="T22" fmla="*/ 34 w 145"/>
                  <a:gd name="T23" fmla="*/ 0 h 60"/>
                  <a:gd name="T24" fmla="*/ 137 w 145"/>
                  <a:gd name="T25" fmla="*/ 0 h 60"/>
                  <a:gd name="T26" fmla="*/ 145 w 145"/>
                  <a:gd name="T27" fmla="*/ 8 h 60"/>
                  <a:gd name="T28" fmla="*/ 145 w 145"/>
                  <a:gd name="T29" fmla="*/ 53 h 60"/>
                  <a:gd name="T30" fmla="*/ 137 w 145"/>
                  <a:gd name="T3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60">
                    <a:moveTo>
                      <a:pt x="137" y="60"/>
                    </a:moveTo>
                    <a:lnTo>
                      <a:pt x="7" y="60"/>
                    </a:lnTo>
                    <a:cubicBezTo>
                      <a:pt x="3" y="60"/>
                      <a:pt x="0" y="57"/>
                      <a:pt x="0" y="53"/>
                    </a:cubicBezTo>
                    <a:lnTo>
                      <a:pt x="0" y="39"/>
                    </a:lnTo>
                    <a:cubicBezTo>
                      <a:pt x="0" y="35"/>
                      <a:pt x="3" y="32"/>
                      <a:pt x="7" y="32"/>
                    </a:cubicBezTo>
                    <a:cubicBezTo>
                      <a:pt x="11" y="32"/>
                      <a:pt x="14" y="35"/>
                      <a:pt x="14" y="39"/>
                    </a:cubicBezTo>
                    <a:lnTo>
                      <a:pt x="14" y="45"/>
                    </a:lnTo>
                    <a:lnTo>
                      <a:pt x="130" y="45"/>
                    </a:lnTo>
                    <a:lnTo>
                      <a:pt x="130" y="15"/>
                    </a:lnTo>
                    <a:lnTo>
                      <a:pt x="34" y="15"/>
                    </a:lnTo>
                    <a:cubicBezTo>
                      <a:pt x="30" y="15"/>
                      <a:pt x="27" y="12"/>
                      <a:pt x="27" y="8"/>
                    </a:cubicBezTo>
                    <a:cubicBezTo>
                      <a:pt x="27" y="4"/>
                      <a:pt x="30" y="0"/>
                      <a:pt x="34" y="0"/>
                    </a:cubicBezTo>
                    <a:lnTo>
                      <a:pt x="137" y="0"/>
                    </a:lnTo>
                    <a:cubicBezTo>
                      <a:pt x="141" y="0"/>
                      <a:pt x="145" y="4"/>
                      <a:pt x="145" y="8"/>
                    </a:cubicBezTo>
                    <a:lnTo>
                      <a:pt x="145" y="53"/>
                    </a:lnTo>
                    <a:cubicBezTo>
                      <a:pt x="145" y="57"/>
                      <a:pt x="141" y="60"/>
                      <a:pt x="137" y="60"/>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574">
                <a:extLst>
                  <a:ext uri="{FF2B5EF4-FFF2-40B4-BE49-F238E27FC236}">
                    <a16:creationId xmlns:a16="http://schemas.microsoft.com/office/drawing/2014/main" id="{402CEDEF-A714-4AD3-8060-81840D20B111}"/>
                  </a:ext>
                </a:extLst>
              </p:cNvPr>
              <p:cNvSpPr>
                <a:spLocks/>
              </p:cNvSpPr>
              <p:nvPr/>
            </p:nvSpPr>
            <p:spPr bwMode="auto">
              <a:xfrm>
                <a:off x="6000751" y="2814638"/>
                <a:ext cx="125413" cy="55563"/>
              </a:xfrm>
              <a:custGeom>
                <a:avLst/>
                <a:gdLst>
                  <a:gd name="T0" fmla="*/ 129 w 137"/>
                  <a:gd name="T1" fmla="*/ 60 h 60"/>
                  <a:gd name="T2" fmla="*/ 7 w 137"/>
                  <a:gd name="T3" fmla="*/ 60 h 60"/>
                  <a:gd name="T4" fmla="*/ 0 w 137"/>
                  <a:gd name="T5" fmla="*/ 53 h 60"/>
                  <a:gd name="T6" fmla="*/ 7 w 137"/>
                  <a:gd name="T7" fmla="*/ 45 h 60"/>
                  <a:gd name="T8" fmla="*/ 122 w 137"/>
                  <a:gd name="T9" fmla="*/ 45 h 60"/>
                  <a:gd name="T10" fmla="*/ 122 w 137"/>
                  <a:gd name="T11" fmla="*/ 15 h 60"/>
                  <a:gd name="T12" fmla="*/ 15 w 137"/>
                  <a:gd name="T13" fmla="*/ 15 h 60"/>
                  <a:gd name="T14" fmla="*/ 8 w 137"/>
                  <a:gd name="T15" fmla="*/ 7 h 60"/>
                  <a:gd name="T16" fmla="*/ 15 w 137"/>
                  <a:gd name="T17" fmla="*/ 0 h 60"/>
                  <a:gd name="T18" fmla="*/ 129 w 137"/>
                  <a:gd name="T19" fmla="*/ 0 h 60"/>
                  <a:gd name="T20" fmla="*/ 137 w 137"/>
                  <a:gd name="T21" fmla="*/ 7 h 60"/>
                  <a:gd name="T22" fmla="*/ 137 w 137"/>
                  <a:gd name="T23" fmla="*/ 53 h 60"/>
                  <a:gd name="T24" fmla="*/ 129 w 137"/>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60">
                    <a:moveTo>
                      <a:pt x="129" y="60"/>
                    </a:moveTo>
                    <a:lnTo>
                      <a:pt x="7" y="60"/>
                    </a:lnTo>
                    <a:cubicBezTo>
                      <a:pt x="3" y="60"/>
                      <a:pt x="0" y="57"/>
                      <a:pt x="0" y="53"/>
                    </a:cubicBezTo>
                    <a:cubicBezTo>
                      <a:pt x="0" y="49"/>
                      <a:pt x="3" y="45"/>
                      <a:pt x="7" y="45"/>
                    </a:cubicBezTo>
                    <a:lnTo>
                      <a:pt x="122" y="45"/>
                    </a:lnTo>
                    <a:lnTo>
                      <a:pt x="122" y="15"/>
                    </a:lnTo>
                    <a:lnTo>
                      <a:pt x="15" y="15"/>
                    </a:lnTo>
                    <a:cubicBezTo>
                      <a:pt x="11" y="15"/>
                      <a:pt x="8" y="11"/>
                      <a:pt x="8" y="7"/>
                    </a:cubicBezTo>
                    <a:cubicBezTo>
                      <a:pt x="8" y="3"/>
                      <a:pt x="11" y="0"/>
                      <a:pt x="15" y="0"/>
                    </a:cubicBezTo>
                    <a:lnTo>
                      <a:pt x="129" y="0"/>
                    </a:lnTo>
                    <a:cubicBezTo>
                      <a:pt x="133" y="0"/>
                      <a:pt x="137" y="3"/>
                      <a:pt x="137" y="7"/>
                    </a:cubicBezTo>
                    <a:lnTo>
                      <a:pt x="137" y="53"/>
                    </a:lnTo>
                    <a:cubicBezTo>
                      <a:pt x="137" y="57"/>
                      <a:pt x="133" y="60"/>
                      <a:pt x="129" y="60"/>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575">
                <a:extLst>
                  <a:ext uri="{FF2B5EF4-FFF2-40B4-BE49-F238E27FC236}">
                    <a16:creationId xmlns:a16="http://schemas.microsoft.com/office/drawing/2014/main" id="{51B3DDC2-96C6-4DAB-9DC7-213C80CE2939}"/>
                  </a:ext>
                </a:extLst>
              </p:cNvPr>
              <p:cNvSpPr>
                <a:spLocks/>
              </p:cNvSpPr>
              <p:nvPr/>
            </p:nvSpPr>
            <p:spPr bwMode="auto">
              <a:xfrm>
                <a:off x="5988051" y="2773363"/>
                <a:ext cx="120650" cy="55563"/>
              </a:xfrm>
              <a:custGeom>
                <a:avLst/>
                <a:gdLst>
                  <a:gd name="T0" fmla="*/ 123 w 131"/>
                  <a:gd name="T1" fmla="*/ 60 h 60"/>
                  <a:gd name="T2" fmla="*/ 28 w 131"/>
                  <a:gd name="T3" fmla="*/ 60 h 60"/>
                  <a:gd name="T4" fmla="*/ 21 w 131"/>
                  <a:gd name="T5" fmla="*/ 52 h 60"/>
                  <a:gd name="T6" fmla="*/ 28 w 131"/>
                  <a:gd name="T7" fmla="*/ 45 h 60"/>
                  <a:gd name="T8" fmla="*/ 116 w 131"/>
                  <a:gd name="T9" fmla="*/ 45 h 60"/>
                  <a:gd name="T10" fmla="*/ 116 w 131"/>
                  <a:gd name="T11" fmla="*/ 15 h 60"/>
                  <a:gd name="T12" fmla="*/ 7 w 131"/>
                  <a:gd name="T13" fmla="*/ 15 h 60"/>
                  <a:gd name="T14" fmla="*/ 0 w 131"/>
                  <a:gd name="T15" fmla="*/ 7 h 60"/>
                  <a:gd name="T16" fmla="*/ 7 w 131"/>
                  <a:gd name="T17" fmla="*/ 0 h 60"/>
                  <a:gd name="T18" fmla="*/ 123 w 131"/>
                  <a:gd name="T19" fmla="*/ 0 h 60"/>
                  <a:gd name="T20" fmla="*/ 131 w 131"/>
                  <a:gd name="T21" fmla="*/ 7 h 60"/>
                  <a:gd name="T22" fmla="*/ 131 w 131"/>
                  <a:gd name="T23" fmla="*/ 52 h 60"/>
                  <a:gd name="T24" fmla="*/ 123 w 131"/>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60">
                    <a:moveTo>
                      <a:pt x="123" y="60"/>
                    </a:moveTo>
                    <a:lnTo>
                      <a:pt x="28" y="60"/>
                    </a:lnTo>
                    <a:cubicBezTo>
                      <a:pt x="24" y="60"/>
                      <a:pt x="21" y="56"/>
                      <a:pt x="21" y="52"/>
                    </a:cubicBezTo>
                    <a:cubicBezTo>
                      <a:pt x="21" y="48"/>
                      <a:pt x="24" y="45"/>
                      <a:pt x="28" y="45"/>
                    </a:cubicBezTo>
                    <a:lnTo>
                      <a:pt x="116" y="45"/>
                    </a:lnTo>
                    <a:lnTo>
                      <a:pt x="116" y="15"/>
                    </a:lnTo>
                    <a:lnTo>
                      <a:pt x="7" y="15"/>
                    </a:lnTo>
                    <a:cubicBezTo>
                      <a:pt x="3" y="15"/>
                      <a:pt x="0" y="11"/>
                      <a:pt x="0" y="7"/>
                    </a:cubicBezTo>
                    <a:cubicBezTo>
                      <a:pt x="0" y="3"/>
                      <a:pt x="3" y="0"/>
                      <a:pt x="7" y="0"/>
                    </a:cubicBezTo>
                    <a:lnTo>
                      <a:pt x="123" y="0"/>
                    </a:lnTo>
                    <a:cubicBezTo>
                      <a:pt x="127" y="0"/>
                      <a:pt x="131" y="3"/>
                      <a:pt x="131" y="7"/>
                    </a:cubicBezTo>
                    <a:lnTo>
                      <a:pt x="131" y="52"/>
                    </a:lnTo>
                    <a:cubicBezTo>
                      <a:pt x="131" y="56"/>
                      <a:pt x="127" y="60"/>
                      <a:pt x="123" y="60"/>
                    </a:cubicBezTo>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576">
                <a:extLst>
                  <a:ext uri="{FF2B5EF4-FFF2-40B4-BE49-F238E27FC236}">
                    <a16:creationId xmlns:a16="http://schemas.microsoft.com/office/drawing/2014/main" id="{F43738E2-E0B4-40AA-8C5A-50899B4751EF}"/>
                  </a:ext>
                </a:extLst>
              </p:cNvPr>
              <p:cNvSpPr>
                <a:spLocks/>
              </p:cNvSpPr>
              <p:nvPr/>
            </p:nvSpPr>
            <p:spPr bwMode="auto">
              <a:xfrm>
                <a:off x="5967414" y="2732088"/>
                <a:ext cx="131763" cy="55563"/>
              </a:xfrm>
              <a:custGeom>
                <a:avLst/>
                <a:gdLst>
                  <a:gd name="T0" fmla="*/ 138 w 145"/>
                  <a:gd name="T1" fmla="*/ 60 h 60"/>
                  <a:gd name="T2" fmla="*/ 31 w 145"/>
                  <a:gd name="T3" fmla="*/ 60 h 60"/>
                  <a:gd name="T4" fmla="*/ 24 w 145"/>
                  <a:gd name="T5" fmla="*/ 52 h 60"/>
                  <a:gd name="T6" fmla="*/ 31 w 145"/>
                  <a:gd name="T7" fmla="*/ 45 h 60"/>
                  <a:gd name="T8" fmla="*/ 131 w 145"/>
                  <a:gd name="T9" fmla="*/ 45 h 60"/>
                  <a:gd name="T10" fmla="*/ 131 w 145"/>
                  <a:gd name="T11" fmla="*/ 15 h 60"/>
                  <a:gd name="T12" fmla="*/ 15 w 145"/>
                  <a:gd name="T13" fmla="*/ 15 h 60"/>
                  <a:gd name="T14" fmla="*/ 15 w 145"/>
                  <a:gd name="T15" fmla="*/ 35 h 60"/>
                  <a:gd name="T16" fmla="*/ 8 w 145"/>
                  <a:gd name="T17" fmla="*/ 42 h 60"/>
                  <a:gd name="T18" fmla="*/ 0 w 145"/>
                  <a:gd name="T19" fmla="*/ 35 h 60"/>
                  <a:gd name="T20" fmla="*/ 0 w 145"/>
                  <a:gd name="T21" fmla="*/ 7 h 60"/>
                  <a:gd name="T22" fmla="*/ 8 w 145"/>
                  <a:gd name="T23" fmla="*/ 0 h 60"/>
                  <a:gd name="T24" fmla="*/ 138 w 145"/>
                  <a:gd name="T25" fmla="*/ 0 h 60"/>
                  <a:gd name="T26" fmla="*/ 145 w 145"/>
                  <a:gd name="T27" fmla="*/ 7 h 60"/>
                  <a:gd name="T28" fmla="*/ 145 w 145"/>
                  <a:gd name="T29" fmla="*/ 52 h 60"/>
                  <a:gd name="T30" fmla="*/ 138 w 145"/>
                  <a:gd name="T3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60">
                    <a:moveTo>
                      <a:pt x="138" y="60"/>
                    </a:moveTo>
                    <a:lnTo>
                      <a:pt x="31" y="60"/>
                    </a:lnTo>
                    <a:cubicBezTo>
                      <a:pt x="27" y="60"/>
                      <a:pt x="24" y="56"/>
                      <a:pt x="24" y="52"/>
                    </a:cubicBezTo>
                    <a:cubicBezTo>
                      <a:pt x="24" y="48"/>
                      <a:pt x="27" y="45"/>
                      <a:pt x="31" y="45"/>
                    </a:cubicBezTo>
                    <a:lnTo>
                      <a:pt x="131" y="45"/>
                    </a:lnTo>
                    <a:lnTo>
                      <a:pt x="131" y="15"/>
                    </a:lnTo>
                    <a:lnTo>
                      <a:pt x="15" y="15"/>
                    </a:lnTo>
                    <a:lnTo>
                      <a:pt x="15" y="35"/>
                    </a:lnTo>
                    <a:cubicBezTo>
                      <a:pt x="15" y="39"/>
                      <a:pt x="12" y="42"/>
                      <a:pt x="8" y="42"/>
                    </a:cubicBezTo>
                    <a:cubicBezTo>
                      <a:pt x="4" y="42"/>
                      <a:pt x="0" y="39"/>
                      <a:pt x="0" y="35"/>
                    </a:cubicBezTo>
                    <a:lnTo>
                      <a:pt x="0" y="7"/>
                    </a:lnTo>
                    <a:cubicBezTo>
                      <a:pt x="0" y="3"/>
                      <a:pt x="4" y="0"/>
                      <a:pt x="8" y="0"/>
                    </a:cubicBezTo>
                    <a:lnTo>
                      <a:pt x="138" y="0"/>
                    </a:lnTo>
                    <a:cubicBezTo>
                      <a:pt x="142" y="0"/>
                      <a:pt x="145" y="3"/>
                      <a:pt x="145" y="7"/>
                    </a:cubicBezTo>
                    <a:lnTo>
                      <a:pt x="145" y="52"/>
                    </a:lnTo>
                    <a:cubicBezTo>
                      <a:pt x="145" y="56"/>
                      <a:pt x="142" y="60"/>
                      <a:pt x="138" y="60"/>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577">
                <a:extLst>
                  <a:ext uri="{FF2B5EF4-FFF2-40B4-BE49-F238E27FC236}">
                    <a16:creationId xmlns:a16="http://schemas.microsoft.com/office/drawing/2014/main" id="{5C7DE2BA-E1B0-4365-A1D5-179AAADE9185}"/>
                  </a:ext>
                </a:extLst>
              </p:cNvPr>
              <p:cNvSpPr>
                <a:spLocks noEditPoints="1"/>
              </p:cNvSpPr>
              <p:nvPr/>
            </p:nvSpPr>
            <p:spPr bwMode="auto">
              <a:xfrm>
                <a:off x="5861051" y="2749550"/>
                <a:ext cx="160338" cy="161925"/>
              </a:xfrm>
              <a:custGeom>
                <a:avLst/>
                <a:gdLst>
                  <a:gd name="T0" fmla="*/ 88 w 176"/>
                  <a:gd name="T1" fmla="*/ 15 h 176"/>
                  <a:gd name="T2" fmla="*/ 15 w 176"/>
                  <a:gd name="T3" fmla="*/ 88 h 176"/>
                  <a:gd name="T4" fmla="*/ 88 w 176"/>
                  <a:gd name="T5" fmla="*/ 161 h 176"/>
                  <a:gd name="T6" fmla="*/ 161 w 176"/>
                  <a:gd name="T7" fmla="*/ 88 h 176"/>
                  <a:gd name="T8" fmla="*/ 88 w 176"/>
                  <a:gd name="T9" fmla="*/ 15 h 176"/>
                  <a:gd name="T10" fmla="*/ 88 w 176"/>
                  <a:gd name="T11" fmla="*/ 176 h 176"/>
                  <a:gd name="T12" fmla="*/ 0 w 176"/>
                  <a:gd name="T13" fmla="*/ 88 h 176"/>
                  <a:gd name="T14" fmla="*/ 88 w 176"/>
                  <a:gd name="T15" fmla="*/ 0 h 176"/>
                  <a:gd name="T16" fmla="*/ 176 w 176"/>
                  <a:gd name="T17" fmla="*/ 88 h 176"/>
                  <a:gd name="T18" fmla="*/ 88 w 176"/>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5"/>
                    </a:moveTo>
                    <a:cubicBezTo>
                      <a:pt x="48" y="15"/>
                      <a:pt x="15" y="48"/>
                      <a:pt x="15" y="88"/>
                    </a:cubicBezTo>
                    <a:cubicBezTo>
                      <a:pt x="15" y="128"/>
                      <a:pt x="48" y="161"/>
                      <a:pt x="88" y="161"/>
                    </a:cubicBezTo>
                    <a:cubicBezTo>
                      <a:pt x="128" y="161"/>
                      <a:pt x="161" y="128"/>
                      <a:pt x="161" y="88"/>
                    </a:cubicBezTo>
                    <a:cubicBezTo>
                      <a:pt x="161" y="48"/>
                      <a:pt x="128" y="15"/>
                      <a:pt x="88" y="15"/>
                    </a:cubicBezTo>
                    <a:close/>
                    <a:moveTo>
                      <a:pt x="88" y="176"/>
                    </a:moveTo>
                    <a:cubicBezTo>
                      <a:pt x="40" y="176"/>
                      <a:pt x="0" y="137"/>
                      <a:pt x="0" y="88"/>
                    </a:cubicBezTo>
                    <a:cubicBezTo>
                      <a:pt x="0" y="40"/>
                      <a:pt x="40" y="0"/>
                      <a:pt x="88" y="0"/>
                    </a:cubicBezTo>
                    <a:cubicBezTo>
                      <a:pt x="136" y="0"/>
                      <a:pt x="176" y="40"/>
                      <a:pt x="176" y="88"/>
                    </a:cubicBezTo>
                    <a:cubicBezTo>
                      <a:pt x="176" y="137"/>
                      <a:pt x="136" y="176"/>
                      <a:pt x="88" y="176"/>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578">
                <a:extLst>
                  <a:ext uri="{FF2B5EF4-FFF2-40B4-BE49-F238E27FC236}">
                    <a16:creationId xmlns:a16="http://schemas.microsoft.com/office/drawing/2014/main" id="{DFCA6CAE-F3A2-4030-8F68-F446933DA4BE}"/>
                  </a:ext>
                </a:extLst>
              </p:cNvPr>
              <p:cNvSpPr>
                <a:spLocks/>
              </p:cNvSpPr>
              <p:nvPr/>
            </p:nvSpPr>
            <p:spPr bwMode="auto">
              <a:xfrm>
                <a:off x="5915026" y="2797175"/>
                <a:ext cx="52388" cy="66675"/>
              </a:xfrm>
              <a:custGeom>
                <a:avLst/>
                <a:gdLst>
                  <a:gd name="T0" fmla="*/ 34 w 56"/>
                  <a:gd name="T1" fmla="*/ 72 h 72"/>
                  <a:gd name="T2" fmla="*/ 22 w 56"/>
                  <a:gd name="T3" fmla="*/ 72 h 72"/>
                  <a:gd name="T4" fmla="*/ 0 w 56"/>
                  <a:gd name="T5" fmla="*/ 51 h 72"/>
                  <a:gd name="T6" fmla="*/ 7 w 56"/>
                  <a:gd name="T7" fmla="*/ 43 h 72"/>
                  <a:gd name="T8" fmla="*/ 15 w 56"/>
                  <a:gd name="T9" fmla="*/ 51 h 72"/>
                  <a:gd name="T10" fmla="*/ 22 w 56"/>
                  <a:gd name="T11" fmla="*/ 58 h 72"/>
                  <a:gd name="T12" fmla="*/ 34 w 56"/>
                  <a:gd name="T13" fmla="*/ 58 h 72"/>
                  <a:gd name="T14" fmla="*/ 41 w 56"/>
                  <a:gd name="T15" fmla="*/ 51 h 72"/>
                  <a:gd name="T16" fmla="*/ 34 w 56"/>
                  <a:gd name="T17" fmla="*/ 43 h 72"/>
                  <a:gd name="T18" fmla="*/ 22 w 56"/>
                  <a:gd name="T19" fmla="*/ 43 h 72"/>
                  <a:gd name="T20" fmla="*/ 0 w 56"/>
                  <a:gd name="T21" fmla="*/ 22 h 72"/>
                  <a:gd name="T22" fmla="*/ 22 w 56"/>
                  <a:gd name="T23" fmla="*/ 0 h 72"/>
                  <a:gd name="T24" fmla="*/ 34 w 56"/>
                  <a:gd name="T25" fmla="*/ 0 h 72"/>
                  <a:gd name="T26" fmla="*/ 56 w 56"/>
                  <a:gd name="T27" fmla="*/ 22 h 72"/>
                  <a:gd name="T28" fmla="*/ 48 w 56"/>
                  <a:gd name="T29" fmla="*/ 29 h 72"/>
                  <a:gd name="T30" fmla="*/ 41 w 56"/>
                  <a:gd name="T31" fmla="*/ 22 h 72"/>
                  <a:gd name="T32" fmla="*/ 34 w 56"/>
                  <a:gd name="T33" fmla="*/ 15 h 72"/>
                  <a:gd name="T34" fmla="*/ 22 w 56"/>
                  <a:gd name="T35" fmla="*/ 15 h 72"/>
                  <a:gd name="T36" fmla="*/ 15 w 56"/>
                  <a:gd name="T37" fmla="*/ 22 h 72"/>
                  <a:gd name="T38" fmla="*/ 22 w 56"/>
                  <a:gd name="T39" fmla="*/ 29 h 72"/>
                  <a:gd name="T40" fmla="*/ 34 w 56"/>
                  <a:gd name="T41" fmla="*/ 29 h 72"/>
                  <a:gd name="T42" fmla="*/ 56 w 56"/>
                  <a:gd name="T43" fmla="*/ 51 h 72"/>
                  <a:gd name="T44" fmla="*/ 34 w 56"/>
                  <a:gd name="T4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72">
                    <a:moveTo>
                      <a:pt x="34" y="72"/>
                    </a:moveTo>
                    <a:lnTo>
                      <a:pt x="22" y="72"/>
                    </a:lnTo>
                    <a:cubicBezTo>
                      <a:pt x="10" y="72"/>
                      <a:pt x="0" y="63"/>
                      <a:pt x="0" y="51"/>
                    </a:cubicBezTo>
                    <a:cubicBezTo>
                      <a:pt x="0" y="47"/>
                      <a:pt x="3" y="43"/>
                      <a:pt x="7" y="43"/>
                    </a:cubicBezTo>
                    <a:cubicBezTo>
                      <a:pt x="12" y="43"/>
                      <a:pt x="15" y="47"/>
                      <a:pt x="15" y="51"/>
                    </a:cubicBezTo>
                    <a:cubicBezTo>
                      <a:pt x="15" y="54"/>
                      <a:pt x="18" y="58"/>
                      <a:pt x="22" y="58"/>
                    </a:cubicBezTo>
                    <a:lnTo>
                      <a:pt x="34" y="58"/>
                    </a:lnTo>
                    <a:cubicBezTo>
                      <a:pt x="38" y="58"/>
                      <a:pt x="41" y="54"/>
                      <a:pt x="41" y="51"/>
                    </a:cubicBezTo>
                    <a:cubicBezTo>
                      <a:pt x="41" y="47"/>
                      <a:pt x="38" y="43"/>
                      <a:pt x="34" y="43"/>
                    </a:cubicBezTo>
                    <a:lnTo>
                      <a:pt x="22" y="43"/>
                    </a:lnTo>
                    <a:cubicBezTo>
                      <a:pt x="10" y="43"/>
                      <a:pt x="0" y="34"/>
                      <a:pt x="0" y="22"/>
                    </a:cubicBezTo>
                    <a:cubicBezTo>
                      <a:pt x="0" y="10"/>
                      <a:pt x="10" y="0"/>
                      <a:pt x="22" y="0"/>
                    </a:cubicBezTo>
                    <a:lnTo>
                      <a:pt x="34" y="0"/>
                    </a:lnTo>
                    <a:cubicBezTo>
                      <a:pt x="46" y="0"/>
                      <a:pt x="56" y="10"/>
                      <a:pt x="56" y="22"/>
                    </a:cubicBezTo>
                    <a:cubicBezTo>
                      <a:pt x="56" y="26"/>
                      <a:pt x="52" y="29"/>
                      <a:pt x="48" y="29"/>
                    </a:cubicBezTo>
                    <a:cubicBezTo>
                      <a:pt x="44" y="29"/>
                      <a:pt x="41" y="26"/>
                      <a:pt x="41" y="22"/>
                    </a:cubicBezTo>
                    <a:cubicBezTo>
                      <a:pt x="41" y="18"/>
                      <a:pt x="38" y="15"/>
                      <a:pt x="34" y="15"/>
                    </a:cubicBezTo>
                    <a:lnTo>
                      <a:pt x="22" y="15"/>
                    </a:lnTo>
                    <a:cubicBezTo>
                      <a:pt x="18" y="15"/>
                      <a:pt x="15" y="18"/>
                      <a:pt x="15" y="22"/>
                    </a:cubicBezTo>
                    <a:cubicBezTo>
                      <a:pt x="15" y="26"/>
                      <a:pt x="18" y="29"/>
                      <a:pt x="22" y="29"/>
                    </a:cubicBezTo>
                    <a:lnTo>
                      <a:pt x="34" y="29"/>
                    </a:lnTo>
                    <a:cubicBezTo>
                      <a:pt x="46" y="29"/>
                      <a:pt x="56" y="39"/>
                      <a:pt x="56" y="51"/>
                    </a:cubicBezTo>
                    <a:cubicBezTo>
                      <a:pt x="56" y="63"/>
                      <a:pt x="46" y="72"/>
                      <a:pt x="34" y="72"/>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579">
                <a:extLst>
                  <a:ext uri="{FF2B5EF4-FFF2-40B4-BE49-F238E27FC236}">
                    <a16:creationId xmlns:a16="http://schemas.microsoft.com/office/drawing/2014/main" id="{931F2830-6397-44D1-9667-CFD9092F8D14}"/>
                  </a:ext>
                </a:extLst>
              </p:cNvPr>
              <p:cNvSpPr>
                <a:spLocks/>
              </p:cNvSpPr>
              <p:nvPr/>
            </p:nvSpPr>
            <p:spPr bwMode="auto">
              <a:xfrm>
                <a:off x="5935664" y="2786063"/>
                <a:ext cx="12700" cy="25400"/>
              </a:xfrm>
              <a:custGeom>
                <a:avLst/>
                <a:gdLst>
                  <a:gd name="T0" fmla="*/ 7 w 14"/>
                  <a:gd name="T1" fmla="*/ 28 h 28"/>
                  <a:gd name="T2" fmla="*/ 0 w 14"/>
                  <a:gd name="T3" fmla="*/ 20 h 28"/>
                  <a:gd name="T4" fmla="*/ 0 w 14"/>
                  <a:gd name="T5" fmla="*/ 7 h 28"/>
                  <a:gd name="T6" fmla="*/ 7 w 14"/>
                  <a:gd name="T7" fmla="*/ 0 h 28"/>
                  <a:gd name="T8" fmla="*/ 14 w 14"/>
                  <a:gd name="T9" fmla="*/ 7 h 28"/>
                  <a:gd name="T10" fmla="*/ 14 w 14"/>
                  <a:gd name="T11" fmla="*/ 20 h 28"/>
                  <a:gd name="T12" fmla="*/ 7 w 1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4" h="28">
                    <a:moveTo>
                      <a:pt x="7" y="28"/>
                    </a:moveTo>
                    <a:cubicBezTo>
                      <a:pt x="3" y="28"/>
                      <a:pt x="0" y="24"/>
                      <a:pt x="0" y="20"/>
                    </a:cubicBezTo>
                    <a:lnTo>
                      <a:pt x="0" y="7"/>
                    </a:lnTo>
                    <a:cubicBezTo>
                      <a:pt x="0" y="3"/>
                      <a:pt x="3" y="0"/>
                      <a:pt x="7" y="0"/>
                    </a:cubicBezTo>
                    <a:cubicBezTo>
                      <a:pt x="11" y="0"/>
                      <a:pt x="14" y="3"/>
                      <a:pt x="14" y="7"/>
                    </a:cubicBezTo>
                    <a:lnTo>
                      <a:pt x="14" y="20"/>
                    </a:lnTo>
                    <a:cubicBezTo>
                      <a:pt x="14" y="24"/>
                      <a:pt x="11" y="28"/>
                      <a:pt x="7" y="28"/>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580">
                <a:extLst>
                  <a:ext uri="{FF2B5EF4-FFF2-40B4-BE49-F238E27FC236}">
                    <a16:creationId xmlns:a16="http://schemas.microsoft.com/office/drawing/2014/main" id="{4B23788C-8F51-4AE9-9DE5-7DCB9568F56A}"/>
                  </a:ext>
                </a:extLst>
              </p:cNvPr>
              <p:cNvSpPr>
                <a:spLocks/>
              </p:cNvSpPr>
              <p:nvPr/>
            </p:nvSpPr>
            <p:spPr bwMode="auto">
              <a:xfrm>
                <a:off x="5935664" y="2851150"/>
                <a:ext cx="12700" cy="25400"/>
              </a:xfrm>
              <a:custGeom>
                <a:avLst/>
                <a:gdLst>
                  <a:gd name="T0" fmla="*/ 7 w 14"/>
                  <a:gd name="T1" fmla="*/ 28 h 28"/>
                  <a:gd name="T2" fmla="*/ 0 w 14"/>
                  <a:gd name="T3" fmla="*/ 20 h 28"/>
                  <a:gd name="T4" fmla="*/ 0 w 14"/>
                  <a:gd name="T5" fmla="*/ 7 h 28"/>
                  <a:gd name="T6" fmla="*/ 7 w 14"/>
                  <a:gd name="T7" fmla="*/ 0 h 28"/>
                  <a:gd name="T8" fmla="*/ 14 w 14"/>
                  <a:gd name="T9" fmla="*/ 7 h 28"/>
                  <a:gd name="T10" fmla="*/ 14 w 14"/>
                  <a:gd name="T11" fmla="*/ 20 h 28"/>
                  <a:gd name="T12" fmla="*/ 7 w 1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4" h="28">
                    <a:moveTo>
                      <a:pt x="7" y="28"/>
                    </a:moveTo>
                    <a:cubicBezTo>
                      <a:pt x="3" y="28"/>
                      <a:pt x="0" y="24"/>
                      <a:pt x="0" y="20"/>
                    </a:cubicBezTo>
                    <a:lnTo>
                      <a:pt x="0" y="7"/>
                    </a:lnTo>
                    <a:cubicBezTo>
                      <a:pt x="0" y="3"/>
                      <a:pt x="3" y="0"/>
                      <a:pt x="7" y="0"/>
                    </a:cubicBezTo>
                    <a:cubicBezTo>
                      <a:pt x="11" y="0"/>
                      <a:pt x="14" y="3"/>
                      <a:pt x="14" y="7"/>
                    </a:cubicBezTo>
                    <a:lnTo>
                      <a:pt x="14" y="20"/>
                    </a:lnTo>
                    <a:cubicBezTo>
                      <a:pt x="14" y="24"/>
                      <a:pt x="11" y="28"/>
                      <a:pt x="7" y="28"/>
                    </a:cubicBezTo>
                    <a:close/>
                  </a:path>
                </a:pathLst>
              </a:custGeom>
              <a:grpFill/>
              <a:ln w="9525">
                <a:solidFill>
                  <a:srgbClr val="1B9D9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9" name="Groupe 18">
            <a:extLst>
              <a:ext uri="{FF2B5EF4-FFF2-40B4-BE49-F238E27FC236}">
                <a16:creationId xmlns:a16="http://schemas.microsoft.com/office/drawing/2014/main" id="{F7BEBCB6-BA42-4422-9862-FE7D57109FD5}"/>
              </a:ext>
            </a:extLst>
          </p:cNvPr>
          <p:cNvGrpSpPr/>
          <p:nvPr/>
        </p:nvGrpSpPr>
        <p:grpSpPr>
          <a:xfrm>
            <a:off x="6098900" y="1177793"/>
            <a:ext cx="2880000" cy="2060553"/>
            <a:chOff x="6098900" y="1177793"/>
            <a:chExt cx="2880000" cy="2060553"/>
          </a:xfrm>
        </p:grpSpPr>
        <p:sp>
          <p:nvSpPr>
            <p:cNvPr id="35" name="Rectangle 34">
              <a:extLst>
                <a:ext uri="{FF2B5EF4-FFF2-40B4-BE49-F238E27FC236}">
                  <a16:creationId xmlns:a16="http://schemas.microsoft.com/office/drawing/2014/main" id="{3835BC92-C714-4ED1-809A-737A97F94206}"/>
                </a:ext>
              </a:extLst>
            </p:cNvPr>
            <p:cNvSpPr/>
            <p:nvPr/>
          </p:nvSpPr>
          <p:spPr>
            <a:xfrm>
              <a:off x="6098900" y="1177793"/>
              <a:ext cx="2880000" cy="2060553"/>
            </a:xfrm>
            <a:prstGeom prst="rect">
              <a:avLst/>
            </a:prstGeom>
            <a:solidFill>
              <a:srgbClr val="1BAE8F"/>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Subtitle 6">
              <a:extLst>
                <a:ext uri="{FF2B5EF4-FFF2-40B4-BE49-F238E27FC236}">
                  <a16:creationId xmlns:a16="http://schemas.microsoft.com/office/drawing/2014/main" id="{ED844769-56C9-4CA4-9B6C-2B0F4D94AAB6}"/>
                </a:ext>
              </a:extLst>
            </p:cNvPr>
            <p:cNvSpPr txBox="1">
              <a:spLocks/>
            </p:cNvSpPr>
            <p:nvPr/>
          </p:nvSpPr>
          <p:spPr>
            <a:xfrm>
              <a:off x="6439267" y="2209936"/>
              <a:ext cx="2385425" cy="761855"/>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bg1"/>
                  </a:solidFill>
                  <a:latin typeface="+mn-lt"/>
                </a:rPr>
                <a:t>Soumis aux tensions géopolitiques</a:t>
              </a:r>
            </a:p>
          </p:txBody>
        </p:sp>
        <p:grpSp>
          <p:nvGrpSpPr>
            <p:cNvPr id="66" name="Confrontation" descr="{&quot;Key&quot;:&quot;POWER_USER_SHAPE_ICON&quot;,&quot;Value&quot;:&quot;POWER_USER_SHAPE_ICON_STYLE_1&quot;}">
              <a:extLst>
                <a:ext uri="{FF2B5EF4-FFF2-40B4-BE49-F238E27FC236}">
                  <a16:creationId xmlns:a16="http://schemas.microsoft.com/office/drawing/2014/main" id="{17C3CBD2-63C8-40C0-8E31-08D333246C82}"/>
                </a:ext>
              </a:extLst>
            </p:cNvPr>
            <p:cNvGrpSpPr>
              <a:grpSpLocks noChangeAspect="1"/>
            </p:cNvGrpSpPr>
            <p:nvPr>
              <p:custDataLst>
                <p:tags r:id="rId4"/>
              </p:custDataLst>
            </p:nvPr>
          </p:nvGrpSpPr>
          <p:grpSpPr>
            <a:xfrm>
              <a:off x="7333057" y="1378185"/>
              <a:ext cx="576857" cy="542925"/>
              <a:chOff x="6764338" y="5940425"/>
              <a:chExt cx="782637" cy="736601"/>
            </a:xfrm>
            <a:solidFill>
              <a:srgbClr val="1BAE8F"/>
            </a:solidFill>
          </p:grpSpPr>
          <p:sp>
            <p:nvSpPr>
              <p:cNvPr id="67" name="Freeform 31">
                <a:extLst>
                  <a:ext uri="{FF2B5EF4-FFF2-40B4-BE49-F238E27FC236}">
                    <a16:creationId xmlns:a16="http://schemas.microsoft.com/office/drawing/2014/main" id="{8F487856-55FC-40B0-BB07-D7DB458077C4}"/>
                  </a:ext>
                </a:extLst>
              </p:cNvPr>
              <p:cNvSpPr>
                <a:spLocks/>
              </p:cNvSpPr>
              <p:nvPr/>
            </p:nvSpPr>
            <p:spPr bwMode="auto">
              <a:xfrm>
                <a:off x="6935788" y="6016625"/>
                <a:ext cx="95250" cy="112713"/>
              </a:xfrm>
              <a:custGeom>
                <a:avLst/>
                <a:gdLst>
                  <a:gd name="T0" fmla="*/ 112 w 123"/>
                  <a:gd name="T1" fmla="*/ 141 h 147"/>
                  <a:gd name="T2" fmla="*/ 119 w 123"/>
                  <a:gd name="T3" fmla="*/ 119 h 147"/>
                  <a:gd name="T4" fmla="*/ 47 w 123"/>
                  <a:gd name="T5" fmla="*/ 14 h 147"/>
                  <a:gd name="T6" fmla="*/ 13 w 123"/>
                  <a:gd name="T7" fmla="*/ 9 h 147"/>
                  <a:gd name="T8" fmla="*/ 8 w 123"/>
                  <a:gd name="T9" fmla="*/ 43 h 147"/>
                  <a:gd name="T10" fmla="*/ 89 w 123"/>
                  <a:gd name="T11" fmla="*/ 141 h 147"/>
                  <a:gd name="T12" fmla="*/ 112 w 123"/>
                  <a:gd name="T13" fmla="*/ 141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112" y="141"/>
                    </a:moveTo>
                    <a:cubicBezTo>
                      <a:pt x="120" y="135"/>
                      <a:pt x="123" y="125"/>
                      <a:pt x="119" y="119"/>
                    </a:cubicBezTo>
                    <a:lnTo>
                      <a:pt x="47" y="14"/>
                    </a:lnTo>
                    <a:cubicBezTo>
                      <a:pt x="40" y="3"/>
                      <a:pt x="25" y="0"/>
                      <a:pt x="13" y="9"/>
                    </a:cubicBezTo>
                    <a:cubicBezTo>
                      <a:pt x="2" y="17"/>
                      <a:pt x="0" y="33"/>
                      <a:pt x="8" y="43"/>
                    </a:cubicBezTo>
                    <a:lnTo>
                      <a:pt x="89" y="141"/>
                    </a:lnTo>
                    <a:cubicBezTo>
                      <a:pt x="94" y="147"/>
                      <a:pt x="104" y="146"/>
                      <a:pt x="112" y="141"/>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32">
                <a:extLst>
                  <a:ext uri="{FF2B5EF4-FFF2-40B4-BE49-F238E27FC236}">
                    <a16:creationId xmlns:a16="http://schemas.microsoft.com/office/drawing/2014/main" id="{3F7A069A-3501-4AA8-A2FE-8200441D898B}"/>
                  </a:ext>
                </a:extLst>
              </p:cNvPr>
              <p:cNvSpPr>
                <a:spLocks/>
              </p:cNvSpPr>
              <p:nvPr/>
            </p:nvSpPr>
            <p:spPr bwMode="auto">
              <a:xfrm>
                <a:off x="7065963" y="5962650"/>
                <a:ext cx="46038" cy="127000"/>
              </a:xfrm>
              <a:custGeom>
                <a:avLst/>
                <a:gdLst>
                  <a:gd name="T0" fmla="*/ 24 w 60"/>
                  <a:gd name="T1" fmla="*/ 1 h 166"/>
                  <a:gd name="T2" fmla="*/ 3 w 60"/>
                  <a:gd name="T3" fmla="*/ 28 h 166"/>
                  <a:gd name="T4" fmla="*/ 23 w 60"/>
                  <a:gd name="T5" fmla="*/ 154 h 166"/>
                  <a:gd name="T6" fmla="*/ 42 w 60"/>
                  <a:gd name="T7" fmla="*/ 165 h 166"/>
                  <a:gd name="T8" fmla="*/ 59 w 60"/>
                  <a:gd name="T9" fmla="*/ 150 h 166"/>
                  <a:gd name="T10" fmla="*/ 51 w 60"/>
                  <a:gd name="T11" fmla="*/ 23 h 166"/>
                  <a:gd name="T12" fmla="*/ 24 w 60"/>
                  <a:gd name="T13" fmla="*/ 1 h 166"/>
                </a:gdLst>
                <a:ahLst/>
                <a:cxnLst>
                  <a:cxn ang="0">
                    <a:pos x="T0" y="T1"/>
                  </a:cxn>
                  <a:cxn ang="0">
                    <a:pos x="T2" y="T3"/>
                  </a:cxn>
                  <a:cxn ang="0">
                    <a:pos x="T4" y="T5"/>
                  </a:cxn>
                  <a:cxn ang="0">
                    <a:pos x="T6" y="T7"/>
                  </a:cxn>
                  <a:cxn ang="0">
                    <a:pos x="T8" y="T9"/>
                  </a:cxn>
                  <a:cxn ang="0">
                    <a:pos x="T10" y="T11"/>
                  </a:cxn>
                  <a:cxn ang="0">
                    <a:pos x="T12" y="T13"/>
                  </a:cxn>
                </a:cxnLst>
                <a:rect l="0" t="0" r="r" b="b"/>
                <a:pathLst>
                  <a:path w="60" h="166">
                    <a:moveTo>
                      <a:pt x="24" y="1"/>
                    </a:moveTo>
                    <a:cubicBezTo>
                      <a:pt x="10" y="3"/>
                      <a:pt x="0" y="15"/>
                      <a:pt x="3" y="28"/>
                    </a:cubicBezTo>
                    <a:lnTo>
                      <a:pt x="23" y="154"/>
                    </a:lnTo>
                    <a:cubicBezTo>
                      <a:pt x="24" y="161"/>
                      <a:pt x="33" y="166"/>
                      <a:pt x="42" y="165"/>
                    </a:cubicBezTo>
                    <a:cubicBezTo>
                      <a:pt x="52" y="164"/>
                      <a:pt x="60" y="157"/>
                      <a:pt x="59" y="150"/>
                    </a:cubicBezTo>
                    <a:lnTo>
                      <a:pt x="51" y="23"/>
                    </a:lnTo>
                    <a:cubicBezTo>
                      <a:pt x="50" y="10"/>
                      <a:pt x="38" y="0"/>
                      <a:pt x="24" y="1"/>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33">
                <a:extLst>
                  <a:ext uri="{FF2B5EF4-FFF2-40B4-BE49-F238E27FC236}">
                    <a16:creationId xmlns:a16="http://schemas.microsoft.com/office/drawing/2014/main" id="{E9BE170E-4F1A-499C-823B-31EDDEFCF8B0}"/>
                  </a:ext>
                </a:extLst>
              </p:cNvPr>
              <p:cNvSpPr>
                <a:spLocks/>
              </p:cNvSpPr>
              <p:nvPr/>
            </p:nvSpPr>
            <p:spPr bwMode="auto">
              <a:xfrm>
                <a:off x="6845300" y="6126163"/>
                <a:ext cx="123825" cy="69850"/>
              </a:xfrm>
              <a:custGeom>
                <a:avLst/>
                <a:gdLst>
                  <a:gd name="T0" fmla="*/ 35 w 162"/>
                  <a:gd name="T1" fmla="*/ 5 h 91"/>
                  <a:gd name="T2" fmla="*/ 4 w 162"/>
                  <a:gd name="T3" fmla="*/ 20 h 91"/>
                  <a:gd name="T4" fmla="*/ 19 w 162"/>
                  <a:gd name="T5" fmla="*/ 51 h 91"/>
                  <a:gd name="T6" fmla="*/ 141 w 162"/>
                  <a:gd name="T7" fmla="*/ 89 h 91"/>
                  <a:gd name="T8" fmla="*/ 159 w 162"/>
                  <a:gd name="T9" fmla="*/ 76 h 91"/>
                  <a:gd name="T10" fmla="*/ 153 w 162"/>
                  <a:gd name="T11" fmla="*/ 54 h 91"/>
                  <a:gd name="T12" fmla="*/ 35 w 162"/>
                  <a:gd name="T13" fmla="*/ 5 h 91"/>
                </a:gdLst>
                <a:ahLst/>
                <a:cxnLst>
                  <a:cxn ang="0">
                    <a:pos x="T0" y="T1"/>
                  </a:cxn>
                  <a:cxn ang="0">
                    <a:pos x="T2" y="T3"/>
                  </a:cxn>
                  <a:cxn ang="0">
                    <a:pos x="T4" y="T5"/>
                  </a:cxn>
                  <a:cxn ang="0">
                    <a:pos x="T6" y="T7"/>
                  </a:cxn>
                  <a:cxn ang="0">
                    <a:pos x="T8" y="T9"/>
                  </a:cxn>
                  <a:cxn ang="0">
                    <a:pos x="T10" y="T11"/>
                  </a:cxn>
                  <a:cxn ang="0">
                    <a:pos x="T12" y="T13"/>
                  </a:cxn>
                </a:cxnLst>
                <a:rect l="0" t="0" r="r" b="b"/>
                <a:pathLst>
                  <a:path w="162" h="91">
                    <a:moveTo>
                      <a:pt x="35" y="5"/>
                    </a:moveTo>
                    <a:cubicBezTo>
                      <a:pt x="24" y="0"/>
                      <a:pt x="9" y="6"/>
                      <a:pt x="4" y="20"/>
                    </a:cubicBezTo>
                    <a:cubicBezTo>
                      <a:pt x="0" y="33"/>
                      <a:pt x="6" y="47"/>
                      <a:pt x="19" y="51"/>
                    </a:cubicBezTo>
                    <a:lnTo>
                      <a:pt x="141" y="89"/>
                    </a:lnTo>
                    <a:cubicBezTo>
                      <a:pt x="148" y="91"/>
                      <a:pt x="156" y="85"/>
                      <a:pt x="159" y="76"/>
                    </a:cubicBezTo>
                    <a:cubicBezTo>
                      <a:pt x="162" y="67"/>
                      <a:pt x="160" y="57"/>
                      <a:pt x="153" y="54"/>
                    </a:cubicBezTo>
                    <a:lnTo>
                      <a:pt x="35" y="5"/>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34">
                <a:extLst>
                  <a:ext uri="{FF2B5EF4-FFF2-40B4-BE49-F238E27FC236}">
                    <a16:creationId xmlns:a16="http://schemas.microsoft.com/office/drawing/2014/main" id="{A7D13443-3B0F-413A-9D0C-980631B0F4FE}"/>
                  </a:ext>
                </a:extLst>
              </p:cNvPr>
              <p:cNvSpPr>
                <a:spLocks/>
              </p:cNvSpPr>
              <p:nvPr/>
            </p:nvSpPr>
            <p:spPr bwMode="auto">
              <a:xfrm>
                <a:off x="7281863" y="6475413"/>
                <a:ext cx="93663" cy="112713"/>
              </a:xfrm>
              <a:custGeom>
                <a:avLst/>
                <a:gdLst>
                  <a:gd name="T0" fmla="*/ 34 w 123"/>
                  <a:gd name="T1" fmla="*/ 5 h 147"/>
                  <a:gd name="T2" fmla="*/ 12 w 123"/>
                  <a:gd name="T3" fmla="*/ 6 h 147"/>
                  <a:gd name="T4" fmla="*/ 4 w 123"/>
                  <a:gd name="T5" fmla="*/ 28 h 147"/>
                  <a:gd name="T6" fmla="*/ 76 w 123"/>
                  <a:gd name="T7" fmla="*/ 133 h 147"/>
                  <a:gd name="T8" fmla="*/ 110 w 123"/>
                  <a:gd name="T9" fmla="*/ 138 h 147"/>
                  <a:gd name="T10" fmla="*/ 115 w 123"/>
                  <a:gd name="T11" fmla="*/ 104 h 147"/>
                  <a:gd name="T12" fmla="*/ 34 w 123"/>
                  <a:gd name="T13" fmla="*/ 5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34" y="5"/>
                    </a:moveTo>
                    <a:cubicBezTo>
                      <a:pt x="29" y="0"/>
                      <a:pt x="19" y="1"/>
                      <a:pt x="12" y="6"/>
                    </a:cubicBezTo>
                    <a:cubicBezTo>
                      <a:pt x="4" y="12"/>
                      <a:pt x="0" y="22"/>
                      <a:pt x="4" y="28"/>
                    </a:cubicBezTo>
                    <a:lnTo>
                      <a:pt x="76" y="133"/>
                    </a:lnTo>
                    <a:cubicBezTo>
                      <a:pt x="83" y="144"/>
                      <a:pt x="99" y="147"/>
                      <a:pt x="110" y="138"/>
                    </a:cubicBezTo>
                    <a:cubicBezTo>
                      <a:pt x="121" y="130"/>
                      <a:pt x="123" y="114"/>
                      <a:pt x="115" y="104"/>
                    </a:cubicBezTo>
                    <a:lnTo>
                      <a:pt x="34" y="5"/>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35">
                <a:extLst>
                  <a:ext uri="{FF2B5EF4-FFF2-40B4-BE49-F238E27FC236}">
                    <a16:creationId xmlns:a16="http://schemas.microsoft.com/office/drawing/2014/main" id="{09B81069-EEDA-4904-A1D1-5DD800A14558}"/>
                  </a:ext>
                </a:extLst>
              </p:cNvPr>
              <p:cNvSpPr>
                <a:spLocks/>
              </p:cNvSpPr>
              <p:nvPr/>
            </p:nvSpPr>
            <p:spPr bwMode="auto">
              <a:xfrm>
                <a:off x="7200900" y="6515100"/>
                <a:ext cx="44450" cy="127000"/>
              </a:xfrm>
              <a:custGeom>
                <a:avLst/>
                <a:gdLst>
                  <a:gd name="T0" fmla="*/ 37 w 59"/>
                  <a:gd name="T1" fmla="*/ 12 h 166"/>
                  <a:gd name="T2" fmla="*/ 17 w 59"/>
                  <a:gd name="T3" fmla="*/ 1 h 166"/>
                  <a:gd name="T4" fmla="*/ 0 w 59"/>
                  <a:gd name="T5" fmla="*/ 16 h 166"/>
                  <a:gd name="T6" fmla="*/ 9 w 59"/>
                  <a:gd name="T7" fmla="*/ 143 h 166"/>
                  <a:gd name="T8" fmla="*/ 35 w 59"/>
                  <a:gd name="T9" fmla="*/ 165 h 166"/>
                  <a:gd name="T10" fmla="*/ 57 w 59"/>
                  <a:gd name="T11" fmla="*/ 138 h 166"/>
                  <a:gd name="T12" fmla="*/ 37 w 59"/>
                  <a:gd name="T13" fmla="*/ 12 h 166"/>
                </a:gdLst>
                <a:ahLst/>
                <a:cxnLst>
                  <a:cxn ang="0">
                    <a:pos x="T0" y="T1"/>
                  </a:cxn>
                  <a:cxn ang="0">
                    <a:pos x="T2" y="T3"/>
                  </a:cxn>
                  <a:cxn ang="0">
                    <a:pos x="T4" y="T5"/>
                  </a:cxn>
                  <a:cxn ang="0">
                    <a:pos x="T6" y="T7"/>
                  </a:cxn>
                  <a:cxn ang="0">
                    <a:pos x="T8" y="T9"/>
                  </a:cxn>
                  <a:cxn ang="0">
                    <a:pos x="T10" y="T11"/>
                  </a:cxn>
                  <a:cxn ang="0">
                    <a:pos x="T12" y="T13"/>
                  </a:cxn>
                </a:cxnLst>
                <a:rect l="0" t="0" r="r" b="b"/>
                <a:pathLst>
                  <a:path w="59" h="166">
                    <a:moveTo>
                      <a:pt x="37" y="12"/>
                    </a:moveTo>
                    <a:cubicBezTo>
                      <a:pt x="36" y="5"/>
                      <a:pt x="27" y="0"/>
                      <a:pt x="17" y="1"/>
                    </a:cubicBezTo>
                    <a:cubicBezTo>
                      <a:pt x="7" y="2"/>
                      <a:pt x="0" y="9"/>
                      <a:pt x="0" y="16"/>
                    </a:cubicBezTo>
                    <a:lnTo>
                      <a:pt x="9" y="143"/>
                    </a:lnTo>
                    <a:cubicBezTo>
                      <a:pt x="9" y="156"/>
                      <a:pt x="21" y="166"/>
                      <a:pt x="35" y="165"/>
                    </a:cubicBezTo>
                    <a:cubicBezTo>
                      <a:pt x="50" y="163"/>
                      <a:pt x="59" y="151"/>
                      <a:pt x="57" y="138"/>
                    </a:cubicBezTo>
                    <a:lnTo>
                      <a:pt x="37" y="1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36">
                <a:extLst>
                  <a:ext uri="{FF2B5EF4-FFF2-40B4-BE49-F238E27FC236}">
                    <a16:creationId xmlns:a16="http://schemas.microsoft.com/office/drawing/2014/main" id="{F9FB15C4-F631-40A8-8761-F223F961B115}"/>
                  </a:ext>
                </a:extLst>
              </p:cNvPr>
              <p:cNvSpPr>
                <a:spLocks/>
              </p:cNvSpPr>
              <p:nvPr/>
            </p:nvSpPr>
            <p:spPr bwMode="auto">
              <a:xfrm>
                <a:off x="7342188" y="6408738"/>
                <a:ext cx="125413" cy="69850"/>
              </a:xfrm>
              <a:custGeom>
                <a:avLst/>
                <a:gdLst>
                  <a:gd name="T0" fmla="*/ 144 w 163"/>
                  <a:gd name="T1" fmla="*/ 40 h 91"/>
                  <a:gd name="T2" fmla="*/ 22 w 163"/>
                  <a:gd name="T3" fmla="*/ 2 h 91"/>
                  <a:gd name="T4" fmla="*/ 3 w 163"/>
                  <a:gd name="T5" fmla="*/ 15 h 91"/>
                  <a:gd name="T6" fmla="*/ 9 w 163"/>
                  <a:gd name="T7" fmla="*/ 37 h 91"/>
                  <a:gd name="T8" fmla="*/ 127 w 163"/>
                  <a:gd name="T9" fmla="*/ 86 h 91"/>
                  <a:gd name="T10" fmla="*/ 158 w 163"/>
                  <a:gd name="T11" fmla="*/ 71 h 91"/>
                  <a:gd name="T12" fmla="*/ 144 w 163"/>
                  <a:gd name="T13" fmla="*/ 40 h 91"/>
                </a:gdLst>
                <a:ahLst/>
                <a:cxnLst>
                  <a:cxn ang="0">
                    <a:pos x="T0" y="T1"/>
                  </a:cxn>
                  <a:cxn ang="0">
                    <a:pos x="T2" y="T3"/>
                  </a:cxn>
                  <a:cxn ang="0">
                    <a:pos x="T4" y="T5"/>
                  </a:cxn>
                  <a:cxn ang="0">
                    <a:pos x="T6" y="T7"/>
                  </a:cxn>
                  <a:cxn ang="0">
                    <a:pos x="T8" y="T9"/>
                  </a:cxn>
                  <a:cxn ang="0">
                    <a:pos x="T10" y="T11"/>
                  </a:cxn>
                  <a:cxn ang="0">
                    <a:pos x="T12" y="T13"/>
                  </a:cxn>
                </a:cxnLst>
                <a:rect l="0" t="0" r="r" b="b"/>
                <a:pathLst>
                  <a:path w="163" h="91">
                    <a:moveTo>
                      <a:pt x="144" y="40"/>
                    </a:moveTo>
                    <a:lnTo>
                      <a:pt x="22" y="2"/>
                    </a:lnTo>
                    <a:cubicBezTo>
                      <a:pt x="15" y="0"/>
                      <a:pt x="7" y="6"/>
                      <a:pt x="3" y="15"/>
                    </a:cubicBezTo>
                    <a:cubicBezTo>
                      <a:pt x="0" y="24"/>
                      <a:pt x="2" y="34"/>
                      <a:pt x="9" y="37"/>
                    </a:cubicBezTo>
                    <a:lnTo>
                      <a:pt x="127" y="86"/>
                    </a:lnTo>
                    <a:cubicBezTo>
                      <a:pt x="139" y="91"/>
                      <a:pt x="153" y="85"/>
                      <a:pt x="158" y="71"/>
                    </a:cubicBezTo>
                    <a:cubicBezTo>
                      <a:pt x="163" y="58"/>
                      <a:pt x="156" y="44"/>
                      <a:pt x="144" y="40"/>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37">
                <a:extLst>
                  <a:ext uri="{FF2B5EF4-FFF2-40B4-BE49-F238E27FC236}">
                    <a16:creationId xmlns:a16="http://schemas.microsoft.com/office/drawing/2014/main" id="{B6590690-32BF-4587-A4DA-33A574D9BFED}"/>
                  </a:ext>
                </a:extLst>
              </p:cNvPr>
              <p:cNvSpPr>
                <a:spLocks/>
              </p:cNvSpPr>
              <p:nvPr/>
            </p:nvSpPr>
            <p:spPr bwMode="auto">
              <a:xfrm>
                <a:off x="6764338" y="6221413"/>
                <a:ext cx="433388" cy="455613"/>
              </a:xfrm>
              <a:custGeom>
                <a:avLst/>
                <a:gdLst>
                  <a:gd name="T0" fmla="*/ 502 w 568"/>
                  <a:gd name="T1" fmla="*/ 285 h 598"/>
                  <a:gd name="T2" fmla="*/ 519 w 568"/>
                  <a:gd name="T3" fmla="*/ 267 h 598"/>
                  <a:gd name="T4" fmla="*/ 519 w 568"/>
                  <a:gd name="T5" fmla="*/ 192 h 598"/>
                  <a:gd name="T6" fmla="*/ 455 w 568"/>
                  <a:gd name="T7" fmla="*/ 184 h 598"/>
                  <a:gd name="T8" fmla="*/ 463 w 568"/>
                  <a:gd name="T9" fmla="*/ 100 h 598"/>
                  <a:gd name="T10" fmla="*/ 393 w 568"/>
                  <a:gd name="T11" fmla="*/ 95 h 598"/>
                  <a:gd name="T12" fmla="*/ 392 w 568"/>
                  <a:gd name="T13" fmla="*/ 21 h 598"/>
                  <a:gd name="T14" fmla="*/ 317 w 568"/>
                  <a:gd name="T15" fmla="*/ 21 h 598"/>
                  <a:gd name="T16" fmla="*/ 205 w 568"/>
                  <a:gd name="T17" fmla="*/ 132 h 598"/>
                  <a:gd name="T18" fmla="*/ 205 w 568"/>
                  <a:gd name="T19" fmla="*/ 69 h 598"/>
                  <a:gd name="T20" fmla="*/ 236 w 568"/>
                  <a:gd name="T21" fmla="*/ 38 h 598"/>
                  <a:gd name="T22" fmla="*/ 112 w 568"/>
                  <a:gd name="T23" fmla="*/ 93 h 598"/>
                  <a:gd name="T24" fmla="*/ 79 w 568"/>
                  <a:gd name="T25" fmla="*/ 311 h 598"/>
                  <a:gd name="T26" fmla="*/ 0 w 568"/>
                  <a:gd name="T27" fmla="*/ 390 h 598"/>
                  <a:gd name="T28" fmla="*/ 209 w 568"/>
                  <a:gd name="T29" fmla="*/ 598 h 598"/>
                  <a:gd name="T30" fmla="*/ 279 w 568"/>
                  <a:gd name="T31" fmla="*/ 528 h 598"/>
                  <a:gd name="T32" fmla="*/ 434 w 568"/>
                  <a:gd name="T33" fmla="*/ 486 h 598"/>
                  <a:gd name="T34" fmla="*/ 548 w 568"/>
                  <a:gd name="T35" fmla="*/ 372 h 598"/>
                  <a:gd name="T36" fmla="*/ 548 w 568"/>
                  <a:gd name="T37" fmla="*/ 299 h 598"/>
                  <a:gd name="T38" fmla="*/ 502 w 568"/>
                  <a:gd name="T39" fmla="*/ 28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502" y="285"/>
                    </a:moveTo>
                    <a:lnTo>
                      <a:pt x="519" y="267"/>
                    </a:lnTo>
                    <a:cubicBezTo>
                      <a:pt x="539" y="247"/>
                      <a:pt x="539" y="213"/>
                      <a:pt x="519" y="192"/>
                    </a:cubicBezTo>
                    <a:cubicBezTo>
                      <a:pt x="501" y="175"/>
                      <a:pt x="475" y="172"/>
                      <a:pt x="455" y="184"/>
                    </a:cubicBezTo>
                    <a:cubicBezTo>
                      <a:pt x="480" y="158"/>
                      <a:pt x="488" y="125"/>
                      <a:pt x="463" y="100"/>
                    </a:cubicBezTo>
                    <a:cubicBezTo>
                      <a:pt x="444" y="80"/>
                      <a:pt x="414" y="79"/>
                      <a:pt x="393" y="95"/>
                    </a:cubicBezTo>
                    <a:cubicBezTo>
                      <a:pt x="413" y="75"/>
                      <a:pt x="413" y="41"/>
                      <a:pt x="392" y="21"/>
                    </a:cubicBezTo>
                    <a:cubicBezTo>
                      <a:pt x="371" y="0"/>
                      <a:pt x="338" y="0"/>
                      <a:pt x="317" y="21"/>
                    </a:cubicBezTo>
                    <a:lnTo>
                      <a:pt x="205" y="132"/>
                    </a:lnTo>
                    <a:cubicBezTo>
                      <a:pt x="188" y="115"/>
                      <a:pt x="188" y="86"/>
                      <a:pt x="205" y="69"/>
                    </a:cubicBezTo>
                    <a:lnTo>
                      <a:pt x="236" y="38"/>
                    </a:lnTo>
                    <a:cubicBezTo>
                      <a:pt x="182" y="42"/>
                      <a:pt x="125" y="68"/>
                      <a:pt x="112" y="93"/>
                    </a:cubicBezTo>
                    <a:cubicBezTo>
                      <a:pt x="93" y="129"/>
                      <a:pt x="79" y="253"/>
                      <a:pt x="79" y="311"/>
                    </a:cubicBezTo>
                    <a:lnTo>
                      <a:pt x="0" y="390"/>
                    </a:lnTo>
                    <a:lnTo>
                      <a:pt x="209" y="598"/>
                    </a:lnTo>
                    <a:lnTo>
                      <a:pt x="279" y="528"/>
                    </a:lnTo>
                    <a:cubicBezTo>
                      <a:pt x="335" y="545"/>
                      <a:pt x="398" y="522"/>
                      <a:pt x="434" y="486"/>
                    </a:cubicBezTo>
                    <a:lnTo>
                      <a:pt x="548" y="372"/>
                    </a:lnTo>
                    <a:cubicBezTo>
                      <a:pt x="568" y="352"/>
                      <a:pt x="568" y="319"/>
                      <a:pt x="548" y="299"/>
                    </a:cubicBezTo>
                    <a:cubicBezTo>
                      <a:pt x="535" y="286"/>
                      <a:pt x="518" y="282"/>
                      <a:pt x="502" y="285"/>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38">
                <a:extLst>
                  <a:ext uri="{FF2B5EF4-FFF2-40B4-BE49-F238E27FC236}">
                    <a16:creationId xmlns:a16="http://schemas.microsoft.com/office/drawing/2014/main" id="{983BDAE5-1CFB-4E6C-83E1-46AA0EF86D6E}"/>
                  </a:ext>
                </a:extLst>
              </p:cNvPr>
              <p:cNvSpPr>
                <a:spLocks/>
              </p:cNvSpPr>
              <p:nvPr/>
            </p:nvSpPr>
            <p:spPr bwMode="auto">
              <a:xfrm>
                <a:off x="7115175" y="5940425"/>
                <a:ext cx="431800" cy="455613"/>
              </a:xfrm>
              <a:custGeom>
                <a:avLst/>
                <a:gdLst>
                  <a:gd name="T0" fmla="*/ 289 w 568"/>
                  <a:gd name="T1" fmla="*/ 70 h 598"/>
                  <a:gd name="T2" fmla="*/ 134 w 568"/>
                  <a:gd name="T3" fmla="*/ 112 h 598"/>
                  <a:gd name="T4" fmla="*/ 21 w 568"/>
                  <a:gd name="T5" fmla="*/ 226 h 598"/>
                  <a:gd name="T6" fmla="*/ 21 w 568"/>
                  <a:gd name="T7" fmla="*/ 299 h 598"/>
                  <a:gd name="T8" fmla="*/ 67 w 568"/>
                  <a:gd name="T9" fmla="*/ 313 h 598"/>
                  <a:gd name="T10" fmla="*/ 50 w 568"/>
                  <a:gd name="T11" fmla="*/ 331 h 598"/>
                  <a:gd name="T12" fmla="*/ 50 w 568"/>
                  <a:gd name="T13" fmla="*/ 406 h 598"/>
                  <a:gd name="T14" fmla="*/ 114 w 568"/>
                  <a:gd name="T15" fmla="*/ 414 h 598"/>
                  <a:gd name="T16" fmla="*/ 105 w 568"/>
                  <a:gd name="T17" fmla="*/ 498 h 598"/>
                  <a:gd name="T18" fmla="*/ 175 w 568"/>
                  <a:gd name="T19" fmla="*/ 503 h 598"/>
                  <a:gd name="T20" fmla="*/ 176 w 568"/>
                  <a:gd name="T21" fmla="*/ 577 h 598"/>
                  <a:gd name="T22" fmla="*/ 252 w 568"/>
                  <a:gd name="T23" fmla="*/ 577 h 598"/>
                  <a:gd name="T24" fmla="*/ 363 w 568"/>
                  <a:gd name="T25" fmla="*/ 465 h 598"/>
                  <a:gd name="T26" fmla="*/ 363 w 568"/>
                  <a:gd name="T27" fmla="*/ 529 h 598"/>
                  <a:gd name="T28" fmla="*/ 332 w 568"/>
                  <a:gd name="T29" fmla="*/ 560 h 598"/>
                  <a:gd name="T30" fmla="*/ 456 w 568"/>
                  <a:gd name="T31" fmla="*/ 505 h 598"/>
                  <a:gd name="T32" fmla="*/ 490 w 568"/>
                  <a:gd name="T33" fmla="*/ 286 h 598"/>
                  <a:gd name="T34" fmla="*/ 568 w 568"/>
                  <a:gd name="T35" fmla="*/ 208 h 598"/>
                  <a:gd name="T36" fmla="*/ 359 w 568"/>
                  <a:gd name="T37" fmla="*/ 0 h 598"/>
                  <a:gd name="T38" fmla="*/ 289 w 568"/>
                  <a:gd name="T39" fmla="*/ 7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289" y="70"/>
                    </a:moveTo>
                    <a:cubicBezTo>
                      <a:pt x="233" y="53"/>
                      <a:pt x="171" y="76"/>
                      <a:pt x="134" y="112"/>
                    </a:cubicBezTo>
                    <a:lnTo>
                      <a:pt x="21" y="226"/>
                    </a:lnTo>
                    <a:cubicBezTo>
                      <a:pt x="0" y="246"/>
                      <a:pt x="0" y="279"/>
                      <a:pt x="21" y="299"/>
                    </a:cubicBezTo>
                    <a:cubicBezTo>
                      <a:pt x="33" y="312"/>
                      <a:pt x="50" y="316"/>
                      <a:pt x="67" y="313"/>
                    </a:cubicBezTo>
                    <a:lnTo>
                      <a:pt x="50" y="331"/>
                    </a:lnTo>
                    <a:cubicBezTo>
                      <a:pt x="29" y="351"/>
                      <a:pt x="29" y="385"/>
                      <a:pt x="50" y="406"/>
                    </a:cubicBezTo>
                    <a:cubicBezTo>
                      <a:pt x="67" y="423"/>
                      <a:pt x="93" y="426"/>
                      <a:pt x="114" y="414"/>
                    </a:cubicBezTo>
                    <a:cubicBezTo>
                      <a:pt x="88" y="440"/>
                      <a:pt x="80" y="473"/>
                      <a:pt x="105" y="498"/>
                    </a:cubicBezTo>
                    <a:cubicBezTo>
                      <a:pt x="124" y="518"/>
                      <a:pt x="154" y="519"/>
                      <a:pt x="175" y="503"/>
                    </a:cubicBezTo>
                    <a:cubicBezTo>
                      <a:pt x="155" y="523"/>
                      <a:pt x="156" y="556"/>
                      <a:pt x="176" y="577"/>
                    </a:cubicBezTo>
                    <a:cubicBezTo>
                      <a:pt x="197" y="598"/>
                      <a:pt x="230" y="598"/>
                      <a:pt x="252" y="577"/>
                    </a:cubicBezTo>
                    <a:lnTo>
                      <a:pt x="363" y="465"/>
                    </a:lnTo>
                    <a:cubicBezTo>
                      <a:pt x="381" y="483"/>
                      <a:pt x="381" y="512"/>
                      <a:pt x="363" y="529"/>
                    </a:cubicBezTo>
                    <a:lnTo>
                      <a:pt x="332" y="560"/>
                    </a:lnTo>
                    <a:cubicBezTo>
                      <a:pt x="387" y="556"/>
                      <a:pt x="443" y="530"/>
                      <a:pt x="456" y="505"/>
                    </a:cubicBezTo>
                    <a:cubicBezTo>
                      <a:pt x="475" y="469"/>
                      <a:pt x="489" y="345"/>
                      <a:pt x="490" y="286"/>
                    </a:cubicBezTo>
                    <a:lnTo>
                      <a:pt x="568" y="208"/>
                    </a:lnTo>
                    <a:lnTo>
                      <a:pt x="359" y="0"/>
                    </a:lnTo>
                    <a:lnTo>
                      <a:pt x="289" y="7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1" name="Groupe 10">
            <a:extLst>
              <a:ext uri="{FF2B5EF4-FFF2-40B4-BE49-F238E27FC236}">
                <a16:creationId xmlns:a16="http://schemas.microsoft.com/office/drawing/2014/main" id="{389CEC42-AB07-4E70-918E-A608B2CA644D}"/>
              </a:ext>
            </a:extLst>
          </p:cNvPr>
          <p:cNvGrpSpPr/>
          <p:nvPr/>
        </p:nvGrpSpPr>
        <p:grpSpPr>
          <a:xfrm>
            <a:off x="3027178" y="4122985"/>
            <a:ext cx="2977985" cy="2060553"/>
            <a:chOff x="3027178" y="4122985"/>
            <a:chExt cx="2977985" cy="2060553"/>
          </a:xfrm>
        </p:grpSpPr>
        <p:sp>
          <p:nvSpPr>
            <p:cNvPr id="18" name="Rectangle 17">
              <a:extLst>
                <a:ext uri="{FF2B5EF4-FFF2-40B4-BE49-F238E27FC236}">
                  <a16:creationId xmlns:a16="http://schemas.microsoft.com/office/drawing/2014/main" id="{32D7B825-4991-43A7-A111-032CC0533BAC}"/>
                </a:ext>
              </a:extLst>
            </p:cNvPr>
            <p:cNvSpPr/>
            <p:nvPr/>
          </p:nvSpPr>
          <p:spPr>
            <a:xfrm>
              <a:off x="3125163" y="4122985"/>
              <a:ext cx="2880000" cy="2060553"/>
            </a:xfrm>
            <a:prstGeom prst="rect">
              <a:avLst/>
            </a:prstGeom>
            <a:solidFill>
              <a:srgbClr val="1BAE8F"/>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Subtitle 6">
              <a:extLst>
                <a:ext uri="{FF2B5EF4-FFF2-40B4-BE49-F238E27FC236}">
                  <a16:creationId xmlns:a16="http://schemas.microsoft.com/office/drawing/2014/main" id="{8FF8ED5F-A092-42A6-8DB3-5C4140BA563E}"/>
                </a:ext>
              </a:extLst>
            </p:cNvPr>
            <p:cNvSpPr txBox="1">
              <a:spLocks/>
            </p:cNvSpPr>
            <p:nvPr/>
          </p:nvSpPr>
          <p:spPr>
            <a:xfrm>
              <a:off x="3027178" y="4848623"/>
              <a:ext cx="2977985" cy="1158930"/>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bg1"/>
                  </a:solidFill>
                  <a:latin typeface="+mn-lt"/>
                </a:rPr>
                <a:t>Rendement matière faible avec une génération importante de matières réversibles (50% à 90%)</a:t>
              </a:r>
            </a:p>
          </p:txBody>
        </p:sp>
        <p:grpSp>
          <p:nvGrpSpPr>
            <p:cNvPr id="210" name="Drilling2" descr="{&quot;Key&quot;:&quot;POWER_USER_SHAPE_ICON&quot;,&quot;Value&quot;:&quot;POWER_USER_SHAPE_ICON_STYLE_1&quot;}">
              <a:extLst>
                <a:ext uri="{FF2B5EF4-FFF2-40B4-BE49-F238E27FC236}">
                  <a16:creationId xmlns:a16="http://schemas.microsoft.com/office/drawing/2014/main" id="{15FC9586-B035-4F25-A614-BC21194ED10F}"/>
                </a:ext>
              </a:extLst>
            </p:cNvPr>
            <p:cNvGrpSpPr>
              <a:grpSpLocks noChangeAspect="1"/>
            </p:cNvGrpSpPr>
            <p:nvPr>
              <p:custDataLst>
                <p:tags r:id="rId3"/>
              </p:custDataLst>
            </p:nvPr>
          </p:nvGrpSpPr>
          <p:grpSpPr>
            <a:xfrm>
              <a:off x="4243818" y="4268736"/>
              <a:ext cx="686233" cy="545535"/>
              <a:chOff x="7031045" y="3100393"/>
              <a:chExt cx="820738" cy="652463"/>
            </a:xfrm>
            <a:noFill/>
          </p:grpSpPr>
          <p:sp>
            <p:nvSpPr>
              <p:cNvPr id="211" name="Freeform 683">
                <a:extLst>
                  <a:ext uri="{FF2B5EF4-FFF2-40B4-BE49-F238E27FC236}">
                    <a16:creationId xmlns:a16="http://schemas.microsoft.com/office/drawing/2014/main" id="{2761B4FB-DA0D-464D-BFF7-781B0DC3A0A4}"/>
                  </a:ext>
                </a:extLst>
              </p:cNvPr>
              <p:cNvSpPr>
                <a:spLocks/>
              </p:cNvSpPr>
              <p:nvPr/>
            </p:nvSpPr>
            <p:spPr bwMode="auto">
              <a:xfrm>
                <a:off x="7300920" y="3455993"/>
                <a:ext cx="282575" cy="209550"/>
              </a:xfrm>
              <a:custGeom>
                <a:avLst/>
                <a:gdLst>
                  <a:gd name="T0" fmla="*/ 198 w 397"/>
                  <a:gd name="T1" fmla="*/ 293 h 293"/>
                  <a:gd name="T2" fmla="*/ 397 w 397"/>
                  <a:gd name="T3" fmla="*/ 0 h 293"/>
                  <a:gd name="T4" fmla="*/ 98 w 397"/>
                  <a:gd name="T5" fmla="*/ 0 h 293"/>
                  <a:gd name="T6" fmla="*/ 209 w 397"/>
                  <a:gd name="T7" fmla="*/ 240 h 293"/>
                  <a:gd name="T8" fmla="*/ 211 w 397"/>
                  <a:gd name="T9" fmla="*/ 250 h 293"/>
                  <a:gd name="T10" fmla="*/ 204 w 397"/>
                  <a:gd name="T11" fmla="*/ 254 h 293"/>
                  <a:gd name="T12" fmla="*/ 201 w 397"/>
                  <a:gd name="T13" fmla="*/ 254 h 293"/>
                  <a:gd name="T14" fmla="*/ 51 w 397"/>
                  <a:gd name="T15" fmla="*/ 0 h 293"/>
                  <a:gd name="T16" fmla="*/ 0 w 397"/>
                  <a:gd name="T17" fmla="*/ 0 h 293"/>
                  <a:gd name="T18" fmla="*/ 198 w 397"/>
                  <a:gd name="T19"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7" h="293">
                    <a:moveTo>
                      <a:pt x="198" y="293"/>
                    </a:moveTo>
                    <a:cubicBezTo>
                      <a:pt x="297" y="293"/>
                      <a:pt x="379" y="117"/>
                      <a:pt x="397" y="0"/>
                    </a:cubicBezTo>
                    <a:lnTo>
                      <a:pt x="98" y="0"/>
                    </a:lnTo>
                    <a:cubicBezTo>
                      <a:pt x="107" y="79"/>
                      <a:pt x="153" y="190"/>
                      <a:pt x="209" y="240"/>
                    </a:cubicBezTo>
                    <a:cubicBezTo>
                      <a:pt x="212" y="242"/>
                      <a:pt x="213" y="247"/>
                      <a:pt x="211" y="250"/>
                    </a:cubicBezTo>
                    <a:cubicBezTo>
                      <a:pt x="209" y="253"/>
                      <a:pt x="207" y="254"/>
                      <a:pt x="204" y="254"/>
                    </a:cubicBezTo>
                    <a:cubicBezTo>
                      <a:pt x="203" y="254"/>
                      <a:pt x="202" y="254"/>
                      <a:pt x="201" y="254"/>
                    </a:cubicBezTo>
                    <a:cubicBezTo>
                      <a:pt x="120" y="232"/>
                      <a:pt x="61" y="88"/>
                      <a:pt x="51" y="0"/>
                    </a:cubicBezTo>
                    <a:lnTo>
                      <a:pt x="0" y="0"/>
                    </a:lnTo>
                    <a:cubicBezTo>
                      <a:pt x="17" y="117"/>
                      <a:pt x="99" y="293"/>
                      <a:pt x="198" y="293"/>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Freeform 684">
                <a:extLst>
                  <a:ext uri="{FF2B5EF4-FFF2-40B4-BE49-F238E27FC236}">
                    <a16:creationId xmlns:a16="http://schemas.microsoft.com/office/drawing/2014/main" id="{F65537A3-7FA8-41D7-AE19-C2A64A23F57B}"/>
                  </a:ext>
                </a:extLst>
              </p:cNvPr>
              <p:cNvSpPr>
                <a:spLocks/>
              </p:cNvSpPr>
              <p:nvPr/>
            </p:nvSpPr>
            <p:spPr bwMode="auto">
              <a:xfrm>
                <a:off x="7232658" y="3311530"/>
                <a:ext cx="417513" cy="103188"/>
              </a:xfrm>
              <a:custGeom>
                <a:avLst/>
                <a:gdLst>
                  <a:gd name="T0" fmla="*/ 588 w 588"/>
                  <a:gd name="T1" fmla="*/ 96 h 146"/>
                  <a:gd name="T2" fmla="*/ 588 w 588"/>
                  <a:gd name="T3" fmla="*/ 0 h 146"/>
                  <a:gd name="T4" fmla="*/ 0 w 588"/>
                  <a:gd name="T5" fmla="*/ 0 h 146"/>
                  <a:gd name="T6" fmla="*/ 0 w 588"/>
                  <a:gd name="T7" fmla="*/ 96 h 146"/>
                  <a:gd name="T8" fmla="*/ 51 w 588"/>
                  <a:gd name="T9" fmla="*/ 146 h 146"/>
                  <a:gd name="T10" fmla="*/ 538 w 588"/>
                  <a:gd name="T11" fmla="*/ 146 h 146"/>
                  <a:gd name="T12" fmla="*/ 588 w 588"/>
                  <a:gd name="T13" fmla="*/ 96 h 146"/>
                </a:gdLst>
                <a:ahLst/>
                <a:cxnLst>
                  <a:cxn ang="0">
                    <a:pos x="T0" y="T1"/>
                  </a:cxn>
                  <a:cxn ang="0">
                    <a:pos x="T2" y="T3"/>
                  </a:cxn>
                  <a:cxn ang="0">
                    <a:pos x="T4" y="T5"/>
                  </a:cxn>
                  <a:cxn ang="0">
                    <a:pos x="T6" y="T7"/>
                  </a:cxn>
                  <a:cxn ang="0">
                    <a:pos x="T8" y="T9"/>
                  </a:cxn>
                  <a:cxn ang="0">
                    <a:pos x="T10" y="T11"/>
                  </a:cxn>
                  <a:cxn ang="0">
                    <a:pos x="T12" y="T13"/>
                  </a:cxn>
                </a:cxnLst>
                <a:rect l="0" t="0" r="r" b="b"/>
                <a:pathLst>
                  <a:path w="588" h="146">
                    <a:moveTo>
                      <a:pt x="588" y="96"/>
                    </a:moveTo>
                    <a:lnTo>
                      <a:pt x="588" y="0"/>
                    </a:lnTo>
                    <a:lnTo>
                      <a:pt x="0" y="0"/>
                    </a:lnTo>
                    <a:lnTo>
                      <a:pt x="0" y="96"/>
                    </a:lnTo>
                    <a:cubicBezTo>
                      <a:pt x="0" y="123"/>
                      <a:pt x="23" y="146"/>
                      <a:pt x="51" y="146"/>
                    </a:cubicBezTo>
                    <a:lnTo>
                      <a:pt x="538" y="146"/>
                    </a:lnTo>
                    <a:cubicBezTo>
                      <a:pt x="566" y="146"/>
                      <a:pt x="588" y="123"/>
                      <a:pt x="588" y="96"/>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F0AE9E1A-CDFA-41BD-A4F2-8EB8A0B36174}"/>
                  </a:ext>
                </a:extLst>
              </p:cNvPr>
              <p:cNvSpPr>
                <a:spLocks noChangeArrowheads="1"/>
              </p:cNvSpPr>
              <p:nvPr/>
            </p:nvSpPr>
            <p:spPr bwMode="auto">
              <a:xfrm>
                <a:off x="7232658" y="3100393"/>
                <a:ext cx="417513" cy="174625"/>
              </a:xfrm>
              <a:prstGeom prst="rect">
                <a:avLst/>
              </a:prstGeom>
              <a:grpFill/>
              <a:ln w="19050">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Rectangle 213">
                <a:extLst>
                  <a:ext uri="{FF2B5EF4-FFF2-40B4-BE49-F238E27FC236}">
                    <a16:creationId xmlns:a16="http://schemas.microsoft.com/office/drawing/2014/main" id="{61E81C8A-3AE6-4D7B-955D-D26B9E356CDA}"/>
                  </a:ext>
                </a:extLst>
              </p:cNvPr>
              <p:cNvSpPr>
                <a:spLocks noChangeArrowheads="1"/>
              </p:cNvSpPr>
              <p:nvPr/>
            </p:nvSpPr>
            <p:spPr bwMode="auto">
              <a:xfrm>
                <a:off x="7031045" y="3705231"/>
                <a:ext cx="820738" cy="47625"/>
              </a:xfrm>
              <a:prstGeom prst="rect">
                <a:avLst/>
              </a:prstGeom>
              <a:grpFill/>
              <a:ln w="19050">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Freeform 687">
                <a:extLst>
                  <a:ext uri="{FF2B5EF4-FFF2-40B4-BE49-F238E27FC236}">
                    <a16:creationId xmlns:a16="http://schemas.microsoft.com/office/drawing/2014/main" id="{B868D667-2C2E-4C77-8AF8-F156BC58708B}"/>
                  </a:ext>
                </a:extLst>
              </p:cNvPr>
              <p:cNvSpPr>
                <a:spLocks/>
              </p:cNvSpPr>
              <p:nvPr/>
            </p:nvSpPr>
            <p:spPr bwMode="auto">
              <a:xfrm>
                <a:off x="7129470" y="3535368"/>
                <a:ext cx="230188" cy="130175"/>
              </a:xfrm>
              <a:custGeom>
                <a:avLst/>
                <a:gdLst>
                  <a:gd name="T0" fmla="*/ 145 w 145"/>
                  <a:gd name="T1" fmla="*/ 82 h 82"/>
                  <a:gd name="T2" fmla="*/ 81 w 145"/>
                  <a:gd name="T3" fmla="*/ 0 h 82"/>
                  <a:gd name="T4" fmla="*/ 86 w 145"/>
                  <a:gd name="T5" fmla="*/ 43 h 82"/>
                  <a:gd name="T6" fmla="*/ 3 w 145"/>
                  <a:gd name="T7" fmla="*/ 5 h 82"/>
                  <a:gd name="T8" fmla="*/ 47 w 145"/>
                  <a:gd name="T9" fmla="*/ 65 h 82"/>
                  <a:gd name="T10" fmla="*/ 0 w 145"/>
                  <a:gd name="T11" fmla="*/ 82 h 82"/>
                  <a:gd name="T12" fmla="*/ 145 w 145"/>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145" h="82">
                    <a:moveTo>
                      <a:pt x="145" y="82"/>
                    </a:moveTo>
                    <a:lnTo>
                      <a:pt x="81" y="0"/>
                    </a:lnTo>
                    <a:lnTo>
                      <a:pt x="86" y="43"/>
                    </a:lnTo>
                    <a:lnTo>
                      <a:pt x="3" y="5"/>
                    </a:lnTo>
                    <a:lnTo>
                      <a:pt x="47" y="65"/>
                    </a:lnTo>
                    <a:lnTo>
                      <a:pt x="0" y="82"/>
                    </a:lnTo>
                    <a:lnTo>
                      <a:pt x="145" y="8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Freeform 688">
                <a:extLst>
                  <a:ext uri="{FF2B5EF4-FFF2-40B4-BE49-F238E27FC236}">
                    <a16:creationId xmlns:a16="http://schemas.microsoft.com/office/drawing/2014/main" id="{303180D7-F763-41C4-8F3D-C4AE1A3F3B63}"/>
                  </a:ext>
                </a:extLst>
              </p:cNvPr>
              <p:cNvSpPr>
                <a:spLocks/>
              </p:cNvSpPr>
              <p:nvPr/>
            </p:nvSpPr>
            <p:spPr bwMode="auto">
              <a:xfrm>
                <a:off x="7523170" y="3535368"/>
                <a:ext cx="230188" cy="130175"/>
              </a:xfrm>
              <a:custGeom>
                <a:avLst/>
                <a:gdLst>
                  <a:gd name="T0" fmla="*/ 98 w 145"/>
                  <a:gd name="T1" fmla="*/ 65 h 82"/>
                  <a:gd name="T2" fmla="*/ 143 w 145"/>
                  <a:gd name="T3" fmla="*/ 5 h 82"/>
                  <a:gd name="T4" fmla="*/ 59 w 145"/>
                  <a:gd name="T5" fmla="*/ 43 h 82"/>
                  <a:gd name="T6" fmla="*/ 64 w 145"/>
                  <a:gd name="T7" fmla="*/ 0 h 82"/>
                  <a:gd name="T8" fmla="*/ 0 w 145"/>
                  <a:gd name="T9" fmla="*/ 82 h 82"/>
                  <a:gd name="T10" fmla="*/ 145 w 145"/>
                  <a:gd name="T11" fmla="*/ 82 h 82"/>
                  <a:gd name="T12" fmla="*/ 98 w 145"/>
                  <a:gd name="T13" fmla="*/ 65 h 82"/>
                </a:gdLst>
                <a:ahLst/>
                <a:cxnLst>
                  <a:cxn ang="0">
                    <a:pos x="T0" y="T1"/>
                  </a:cxn>
                  <a:cxn ang="0">
                    <a:pos x="T2" y="T3"/>
                  </a:cxn>
                  <a:cxn ang="0">
                    <a:pos x="T4" y="T5"/>
                  </a:cxn>
                  <a:cxn ang="0">
                    <a:pos x="T6" y="T7"/>
                  </a:cxn>
                  <a:cxn ang="0">
                    <a:pos x="T8" y="T9"/>
                  </a:cxn>
                  <a:cxn ang="0">
                    <a:pos x="T10" y="T11"/>
                  </a:cxn>
                  <a:cxn ang="0">
                    <a:pos x="T12" y="T13"/>
                  </a:cxn>
                </a:cxnLst>
                <a:rect l="0" t="0" r="r" b="b"/>
                <a:pathLst>
                  <a:path w="145" h="82">
                    <a:moveTo>
                      <a:pt x="98" y="65"/>
                    </a:moveTo>
                    <a:lnTo>
                      <a:pt x="143" y="5"/>
                    </a:lnTo>
                    <a:lnTo>
                      <a:pt x="59" y="43"/>
                    </a:lnTo>
                    <a:lnTo>
                      <a:pt x="64" y="0"/>
                    </a:lnTo>
                    <a:lnTo>
                      <a:pt x="0" y="82"/>
                    </a:lnTo>
                    <a:lnTo>
                      <a:pt x="145" y="82"/>
                    </a:lnTo>
                    <a:lnTo>
                      <a:pt x="98" y="65"/>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Oval 3271">
                <a:extLst>
                  <a:ext uri="{FF2B5EF4-FFF2-40B4-BE49-F238E27FC236}">
                    <a16:creationId xmlns:a16="http://schemas.microsoft.com/office/drawing/2014/main" id="{5742B4DD-9662-44DE-A783-16F0A0FFA8A0}"/>
                  </a:ext>
                </a:extLst>
              </p:cNvPr>
              <p:cNvSpPr>
                <a:spLocks noChangeArrowheads="1"/>
              </p:cNvSpPr>
              <p:nvPr/>
            </p:nvSpPr>
            <p:spPr bwMode="auto">
              <a:xfrm>
                <a:off x="7062795" y="3535368"/>
                <a:ext cx="36513" cy="36513"/>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Oval 3272">
                <a:extLst>
                  <a:ext uri="{FF2B5EF4-FFF2-40B4-BE49-F238E27FC236}">
                    <a16:creationId xmlns:a16="http://schemas.microsoft.com/office/drawing/2014/main" id="{EB7C81F0-353A-47E5-BA59-72AD3337208E}"/>
                  </a:ext>
                </a:extLst>
              </p:cNvPr>
              <p:cNvSpPr>
                <a:spLocks noChangeArrowheads="1"/>
              </p:cNvSpPr>
              <p:nvPr/>
            </p:nvSpPr>
            <p:spPr bwMode="auto">
              <a:xfrm>
                <a:off x="7761296" y="3476631"/>
                <a:ext cx="36513" cy="36513"/>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Oval 3273">
                <a:extLst>
                  <a:ext uri="{FF2B5EF4-FFF2-40B4-BE49-F238E27FC236}">
                    <a16:creationId xmlns:a16="http://schemas.microsoft.com/office/drawing/2014/main" id="{EC73CF9D-AA85-4954-A7AA-CBD1F2C55C63}"/>
                  </a:ext>
                </a:extLst>
              </p:cNvPr>
              <p:cNvSpPr>
                <a:spLocks noChangeArrowheads="1"/>
              </p:cNvSpPr>
              <p:nvPr/>
            </p:nvSpPr>
            <p:spPr bwMode="auto">
              <a:xfrm>
                <a:off x="7181858" y="3495681"/>
                <a:ext cx="50800" cy="50800"/>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Oval 3274">
                <a:extLst>
                  <a:ext uri="{FF2B5EF4-FFF2-40B4-BE49-F238E27FC236}">
                    <a16:creationId xmlns:a16="http://schemas.microsoft.com/office/drawing/2014/main" id="{26FE6C81-D416-4667-9CC7-A39B5358DF49}"/>
                  </a:ext>
                </a:extLst>
              </p:cNvPr>
              <p:cNvSpPr>
                <a:spLocks noChangeArrowheads="1"/>
              </p:cNvSpPr>
              <p:nvPr/>
            </p:nvSpPr>
            <p:spPr bwMode="auto">
              <a:xfrm>
                <a:off x="7732721" y="3594106"/>
                <a:ext cx="42863" cy="44450"/>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0" name="Groupe 9">
            <a:extLst>
              <a:ext uri="{FF2B5EF4-FFF2-40B4-BE49-F238E27FC236}">
                <a16:creationId xmlns:a16="http://schemas.microsoft.com/office/drawing/2014/main" id="{361EA330-6561-4577-8822-CA7AA8C3CF1D}"/>
              </a:ext>
            </a:extLst>
          </p:cNvPr>
          <p:cNvGrpSpPr/>
          <p:nvPr/>
        </p:nvGrpSpPr>
        <p:grpSpPr>
          <a:xfrm>
            <a:off x="151426" y="4122985"/>
            <a:ext cx="2880000" cy="2060553"/>
            <a:chOff x="151426" y="4122985"/>
            <a:chExt cx="2880000" cy="2060553"/>
          </a:xfrm>
        </p:grpSpPr>
        <p:sp>
          <p:nvSpPr>
            <p:cNvPr id="17" name="Rectangle 16">
              <a:extLst>
                <a:ext uri="{FF2B5EF4-FFF2-40B4-BE49-F238E27FC236}">
                  <a16:creationId xmlns:a16="http://schemas.microsoft.com/office/drawing/2014/main" id="{75E50A67-67DF-47E5-B8D4-36D574511DF7}"/>
                </a:ext>
              </a:extLst>
            </p:cNvPr>
            <p:cNvSpPr/>
            <p:nvPr/>
          </p:nvSpPr>
          <p:spPr>
            <a:xfrm>
              <a:off x="151426" y="4122985"/>
              <a:ext cx="2880000" cy="2060553"/>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Subtitle 6">
              <a:extLst>
                <a:ext uri="{FF2B5EF4-FFF2-40B4-BE49-F238E27FC236}">
                  <a16:creationId xmlns:a16="http://schemas.microsoft.com/office/drawing/2014/main" id="{B96E997C-F520-4B96-8445-271E96D31B24}"/>
                </a:ext>
              </a:extLst>
            </p:cNvPr>
            <p:cNvSpPr txBox="1">
              <a:spLocks/>
            </p:cNvSpPr>
            <p:nvPr/>
          </p:nvSpPr>
          <p:spPr>
            <a:xfrm>
              <a:off x="222272" y="4900573"/>
              <a:ext cx="2758038" cy="1055030"/>
            </a:xfrm>
            <a:prstGeom prst="rect">
              <a:avLst/>
            </a:prstGeom>
          </p:spPr>
          <p:txBody>
            <a:bodyPr vert="horz" lIns="91440" tIns="45720" rIns="91440" bIns="45720" numCol="1" spcCol="365760" rtlCol="0" anchor="t">
              <a:noAutofit/>
            </a:bodyPr>
            <a:lstStyle>
              <a:lvl1pPr marL="0" indent="0" algn="ctr" defTabSz="914400" rtl="0" eaLnBrk="1" latinLnBrk="0" hangingPunct="1">
                <a:lnSpc>
                  <a:spcPct val="90000"/>
                </a:lnSpc>
                <a:spcBef>
                  <a:spcPts val="1000"/>
                </a:spcBef>
                <a:buFont typeface="Arial"/>
                <a:buNone/>
                <a:defRPr sz="1200" b="0" i="0" kern="1200">
                  <a:solidFill>
                    <a:schemeClr val="accent1"/>
                  </a:solidFill>
                  <a:latin typeface="Montserrat Light" charset="0"/>
                  <a:ea typeface="Montserrat Light" charset="0"/>
                  <a:cs typeface="Montserrat Light" charset="0"/>
                </a:defRPr>
              </a:lvl1pPr>
              <a:lvl2pPr marL="457200" indent="0" algn="ctr" defTabSz="914400" rtl="0" eaLnBrk="1" latinLnBrk="0" hangingPunct="1">
                <a:lnSpc>
                  <a:spcPct val="90000"/>
                </a:lnSpc>
                <a:spcBef>
                  <a:spcPts val="500"/>
                </a:spcBef>
                <a:buFont typeface="Arial"/>
                <a:buNone/>
                <a:defRPr sz="2000" b="0" i="0" kern="1200">
                  <a:solidFill>
                    <a:schemeClr val="tx1"/>
                  </a:solidFill>
                  <a:latin typeface="Montserrat Light" charset="0"/>
                  <a:ea typeface="Montserrat Light" charset="0"/>
                  <a:cs typeface="Montserrat Light" charset="0"/>
                </a:defRPr>
              </a:lvl2pPr>
              <a:lvl3pPr marL="914400" indent="0" algn="ctr" defTabSz="914400" rtl="0" eaLnBrk="1" latinLnBrk="0" hangingPunct="1">
                <a:lnSpc>
                  <a:spcPct val="90000"/>
                </a:lnSpc>
                <a:spcBef>
                  <a:spcPts val="500"/>
                </a:spcBef>
                <a:buFont typeface="Arial"/>
                <a:buNone/>
                <a:defRPr sz="1800" b="0" i="0" kern="1200">
                  <a:solidFill>
                    <a:schemeClr val="tx1"/>
                  </a:solidFill>
                  <a:latin typeface="Montserrat Light" charset="0"/>
                  <a:ea typeface="Montserrat Light" charset="0"/>
                  <a:cs typeface="Montserrat Light" charset="0"/>
                </a:defRPr>
              </a:lvl3pPr>
              <a:lvl4pPr marL="13716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4pPr>
              <a:lvl5pPr marL="1828800" indent="0" algn="ctr" defTabSz="914400" rtl="0" eaLnBrk="1" latinLnBrk="0" hangingPunct="1">
                <a:lnSpc>
                  <a:spcPct val="90000"/>
                </a:lnSpc>
                <a:spcBef>
                  <a:spcPts val="500"/>
                </a:spcBef>
                <a:buFont typeface="Arial"/>
                <a:buNone/>
                <a:defRPr sz="1600" b="0" i="0" kern="1200">
                  <a:solidFill>
                    <a:schemeClr val="tx1"/>
                  </a:solidFill>
                  <a:latin typeface="Montserrat Light" charset="0"/>
                  <a:ea typeface="Montserrat Light" charset="0"/>
                  <a:cs typeface="Montserrat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fr-FR" sz="1800" dirty="0">
                  <a:solidFill>
                    <a:schemeClr val="tx2"/>
                  </a:solidFill>
                  <a:latin typeface="+mn-lt"/>
                </a:rPr>
                <a:t>Europe : Parmi les 1</a:t>
              </a:r>
              <a:r>
                <a:rPr lang="fr-FR" sz="1800" baseline="30000" dirty="0">
                  <a:solidFill>
                    <a:schemeClr val="tx2"/>
                  </a:solidFill>
                  <a:latin typeface="+mn-lt"/>
                </a:rPr>
                <a:t>er</a:t>
              </a:r>
              <a:r>
                <a:rPr lang="fr-FR" sz="1800" dirty="0">
                  <a:solidFill>
                    <a:schemeClr val="tx2"/>
                  </a:solidFill>
                  <a:latin typeface="+mn-lt"/>
                </a:rPr>
                <a:t> générateurs de matières réversibles et 1</a:t>
              </a:r>
              <a:r>
                <a:rPr lang="fr-FR" sz="1800" baseline="30000" dirty="0">
                  <a:solidFill>
                    <a:schemeClr val="tx2"/>
                  </a:solidFill>
                  <a:latin typeface="+mn-lt"/>
                </a:rPr>
                <a:t>er</a:t>
              </a:r>
              <a:r>
                <a:rPr lang="fr-FR" sz="1800" dirty="0">
                  <a:solidFill>
                    <a:schemeClr val="tx2"/>
                  </a:solidFill>
                  <a:latin typeface="+mn-lt"/>
                </a:rPr>
                <a:t> exportateur vers les US</a:t>
              </a:r>
            </a:p>
          </p:txBody>
        </p:sp>
        <p:grpSp>
          <p:nvGrpSpPr>
            <p:cNvPr id="221" name="Crossroads2" descr="{&quot;Key&quot;:&quot;POWER_USER_SHAPE_ICON&quot;,&quot;Value&quot;:&quot;POWER_USER_SHAPE_ICON_STYLE_1&quot;}">
              <a:extLst>
                <a:ext uri="{FF2B5EF4-FFF2-40B4-BE49-F238E27FC236}">
                  <a16:creationId xmlns:a16="http://schemas.microsoft.com/office/drawing/2014/main" id="{CC770658-1962-4E36-B9D9-C65640449DF2}"/>
                </a:ext>
              </a:extLst>
            </p:cNvPr>
            <p:cNvGrpSpPr>
              <a:grpSpLocks noChangeAspect="1"/>
            </p:cNvGrpSpPr>
            <p:nvPr>
              <p:custDataLst>
                <p:tags r:id="rId2"/>
              </p:custDataLst>
            </p:nvPr>
          </p:nvGrpSpPr>
          <p:grpSpPr>
            <a:xfrm>
              <a:off x="1255895" y="4203842"/>
              <a:ext cx="541006" cy="542925"/>
              <a:chOff x="3959225" y="-1365250"/>
              <a:chExt cx="895351" cy="898526"/>
            </a:xfrm>
            <a:solidFill>
              <a:schemeClr val="bg1"/>
            </a:solidFill>
          </p:grpSpPr>
          <p:sp>
            <p:nvSpPr>
              <p:cNvPr id="222" name="Freeform 325">
                <a:extLst>
                  <a:ext uri="{FF2B5EF4-FFF2-40B4-BE49-F238E27FC236}">
                    <a16:creationId xmlns:a16="http://schemas.microsoft.com/office/drawing/2014/main" id="{3C725220-278D-4874-A8A1-48875F040EC2}"/>
                  </a:ext>
                </a:extLst>
              </p:cNvPr>
              <p:cNvSpPr>
                <a:spLocks/>
              </p:cNvSpPr>
              <p:nvPr/>
            </p:nvSpPr>
            <p:spPr bwMode="auto">
              <a:xfrm>
                <a:off x="3959225" y="-1019175"/>
                <a:ext cx="388938" cy="346075"/>
              </a:xfrm>
              <a:custGeom>
                <a:avLst/>
                <a:gdLst>
                  <a:gd name="T0" fmla="*/ 436 w 510"/>
                  <a:gd name="T1" fmla="*/ 178 h 455"/>
                  <a:gd name="T2" fmla="*/ 448 w 510"/>
                  <a:gd name="T3" fmla="*/ 165 h 455"/>
                  <a:gd name="T4" fmla="*/ 510 w 510"/>
                  <a:gd name="T5" fmla="*/ 165 h 455"/>
                  <a:gd name="T6" fmla="*/ 510 w 510"/>
                  <a:gd name="T7" fmla="*/ 113 h 455"/>
                  <a:gd name="T8" fmla="*/ 225 w 510"/>
                  <a:gd name="T9" fmla="*/ 113 h 455"/>
                  <a:gd name="T10" fmla="*/ 225 w 510"/>
                  <a:gd name="T11" fmla="*/ 14 h 455"/>
                  <a:gd name="T12" fmla="*/ 210 w 510"/>
                  <a:gd name="T13" fmla="*/ 9 h 455"/>
                  <a:gd name="T14" fmla="*/ 6 w 510"/>
                  <a:gd name="T15" fmla="*/ 219 h 455"/>
                  <a:gd name="T16" fmla="*/ 0 w 510"/>
                  <a:gd name="T17" fmla="*/ 227 h 455"/>
                  <a:gd name="T18" fmla="*/ 6 w 510"/>
                  <a:gd name="T19" fmla="*/ 236 h 455"/>
                  <a:gd name="T20" fmla="*/ 210 w 510"/>
                  <a:gd name="T21" fmla="*/ 446 h 455"/>
                  <a:gd name="T22" fmla="*/ 225 w 510"/>
                  <a:gd name="T23" fmla="*/ 441 h 455"/>
                  <a:gd name="T24" fmla="*/ 225 w 510"/>
                  <a:gd name="T25" fmla="*/ 342 h 455"/>
                  <a:gd name="T26" fmla="*/ 510 w 510"/>
                  <a:gd name="T27" fmla="*/ 342 h 455"/>
                  <a:gd name="T28" fmla="*/ 510 w 510"/>
                  <a:gd name="T29" fmla="*/ 290 h 455"/>
                  <a:gd name="T30" fmla="*/ 448 w 510"/>
                  <a:gd name="T31" fmla="*/ 290 h 455"/>
                  <a:gd name="T32" fmla="*/ 436 w 510"/>
                  <a:gd name="T33" fmla="*/ 277 h 455"/>
                  <a:gd name="T34" fmla="*/ 436 w 510"/>
                  <a:gd name="T35" fmla="*/ 227 h 455"/>
                  <a:gd name="T36" fmla="*/ 436 w 510"/>
                  <a:gd name="T37" fmla="*/ 178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0" h="455">
                    <a:moveTo>
                      <a:pt x="436" y="178"/>
                    </a:moveTo>
                    <a:cubicBezTo>
                      <a:pt x="436" y="171"/>
                      <a:pt x="441" y="165"/>
                      <a:pt x="448" y="165"/>
                    </a:cubicBezTo>
                    <a:lnTo>
                      <a:pt x="510" y="165"/>
                    </a:lnTo>
                    <a:lnTo>
                      <a:pt x="510" y="113"/>
                    </a:lnTo>
                    <a:lnTo>
                      <a:pt x="225" y="113"/>
                    </a:lnTo>
                    <a:lnTo>
                      <a:pt x="225" y="14"/>
                    </a:lnTo>
                    <a:cubicBezTo>
                      <a:pt x="225" y="3"/>
                      <a:pt x="215" y="0"/>
                      <a:pt x="210" y="9"/>
                    </a:cubicBezTo>
                    <a:cubicBezTo>
                      <a:pt x="187" y="62"/>
                      <a:pt x="107" y="159"/>
                      <a:pt x="6" y="219"/>
                    </a:cubicBezTo>
                    <a:cubicBezTo>
                      <a:pt x="3" y="221"/>
                      <a:pt x="0" y="225"/>
                      <a:pt x="0" y="227"/>
                    </a:cubicBezTo>
                    <a:cubicBezTo>
                      <a:pt x="0" y="230"/>
                      <a:pt x="3" y="234"/>
                      <a:pt x="6" y="236"/>
                    </a:cubicBezTo>
                    <a:cubicBezTo>
                      <a:pt x="107" y="296"/>
                      <a:pt x="187" y="393"/>
                      <a:pt x="210" y="446"/>
                    </a:cubicBezTo>
                    <a:cubicBezTo>
                      <a:pt x="215" y="455"/>
                      <a:pt x="225" y="452"/>
                      <a:pt x="225" y="441"/>
                    </a:cubicBezTo>
                    <a:lnTo>
                      <a:pt x="225" y="342"/>
                    </a:lnTo>
                    <a:lnTo>
                      <a:pt x="510" y="342"/>
                    </a:lnTo>
                    <a:lnTo>
                      <a:pt x="510" y="290"/>
                    </a:lnTo>
                    <a:lnTo>
                      <a:pt x="448" y="290"/>
                    </a:lnTo>
                    <a:cubicBezTo>
                      <a:pt x="441" y="290"/>
                      <a:pt x="436" y="284"/>
                      <a:pt x="436" y="277"/>
                    </a:cubicBezTo>
                    <a:lnTo>
                      <a:pt x="436" y="227"/>
                    </a:lnTo>
                    <a:lnTo>
                      <a:pt x="436" y="178"/>
                    </a:lnTo>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Freeform 326">
                <a:extLst>
                  <a:ext uri="{FF2B5EF4-FFF2-40B4-BE49-F238E27FC236}">
                    <a16:creationId xmlns:a16="http://schemas.microsoft.com/office/drawing/2014/main" id="{3073C8D3-ADA8-4514-A51D-FD5CB5031C84}"/>
                  </a:ext>
                </a:extLst>
              </p:cNvPr>
              <p:cNvSpPr>
                <a:spLocks/>
              </p:cNvSpPr>
              <p:nvPr/>
            </p:nvSpPr>
            <p:spPr bwMode="auto">
              <a:xfrm>
                <a:off x="4465638" y="-1227137"/>
                <a:ext cx="388938" cy="346075"/>
              </a:xfrm>
              <a:custGeom>
                <a:avLst/>
                <a:gdLst>
                  <a:gd name="T0" fmla="*/ 74 w 510"/>
                  <a:gd name="T1" fmla="*/ 178 h 455"/>
                  <a:gd name="T2" fmla="*/ 61 w 510"/>
                  <a:gd name="T3" fmla="*/ 165 h 455"/>
                  <a:gd name="T4" fmla="*/ 0 w 510"/>
                  <a:gd name="T5" fmla="*/ 165 h 455"/>
                  <a:gd name="T6" fmla="*/ 0 w 510"/>
                  <a:gd name="T7" fmla="*/ 113 h 455"/>
                  <a:gd name="T8" fmla="*/ 285 w 510"/>
                  <a:gd name="T9" fmla="*/ 113 h 455"/>
                  <a:gd name="T10" fmla="*/ 285 w 510"/>
                  <a:gd name="T11" fmla="*/ 14 h 455"/>
                  <a:gd name="T12" fmla="*/ 300 w 510"/>
                  <a:gd name="T13" fmla="*/ 9 h 455"/>
                  <a:gd name="T14" fmla="*/ 504 w 510"/>
                  <a:gd name="T15" fmla="*/ 219 h 455"/>
                  <a:gd name="T16" fmla="*/ 510 w 510"/>
                  <a:gd name="T17" fmla="*/ 228 h 455"/>
                  <a:gd name="T18" fmla="*/ 504 w 510"/>
                  <a:gd name="T19" fmla="*/ 236 h 455"/>
                  <a:gd name="T20" fmla="*/ 300 w 510"/>
                  <a:gd name="T21" fmla="*/ 446 h 455"/>
                  <a:gd name="T22" fmla="*/ 285 w 510"/>
                  <a:gd name="T23" fmla="*/ 441 h 455"/>
                  <a:gd name="T24" fmla="*/ 285 w 510"/>
                  <a:gd name="T25" fmla="*/ 342 h 455"/>
                  <a:gd name="T26" fmla="*/ 0 w 510"/>
                  <a:gd name="T27" fmla="*/ 342 h 455"/>
                  <a:gd name="T28" fmla="*/ 0 w 510"/>
                  <a:gd name="T29" fmla="*/ 290 h 455"/>
                  <a:gd name="T30" fmla="*/ 61 w 510"/>
                  <a:gd name="T31" fmla="*/ 290 h 455"/>
                  <a:gd name="T32" fmla="*/ 74 w 510"/>
                  <a:gd name="T33" fmla="*/ 277 h 455"/>
                  <a:gd name="T34" fmla="*/ 74 w 510"/>
                  <a:gd name="T35" fmla="*/ 228 h 455"/>
                  <a:gd name="T36" fmla="*/ 74 w 510"/>
                  <a:gd name="T37" fmla="*/ 178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0" h="455">
                    <a:moveTo>
                      <a:pt x="74" y="178"/>
                    </a:moveTo>
                    <a:cubicBezTo>
                      <a:pt x="74" y="171"/>
                      <a:pt x="68" y="165"/>
                      <a:pt x="61" y="165"/>
                    </a:cubicBezTo>
                    <a:lnTo>
                      <a:pt x="0" y="165"/>
                    </a:lnTo>
                    <a:lnTo>
                      <a:pt x="0" y="113"/>
                    </a:lnTo>
                    <a:lnTo>
                      <a:pt x="285" y="113"/>
                    </a:lnTo>
                    <a:lnTo>
                      <a:pt x="285" y="14"/>
                    </a:lnTo>
                    <a:cubicBezTo>
                      <a:pt x="285" y="3"/>
                      <a:pt x="295" y="0"/>
                      <a:pt x="300" y="9"/>
                    </a:cubicBezTo>
                    <a:cubicBezTo>
                      <a:pt x="323" y="62"/>
                      <a:pt x="403" y="159"/>
                      <a:pt x="504" y="219"/>
                    </a:cubicBezTo>
                    <a:cubicBezTo>
                      <a:pt x="507" y="221"/>
                      <a:pt x="510" y="225"/>
                      <a:pt x="510" y="228"/>
                    </a:cubicBezTo>
                    <a:cubicBezTo>
                      <a:pt x="510" y="230"/>
                      <a:pt x="507" y="234"/>
                      <a:pt x="504" y="236"/>
                    </a:cubicBezTo>
                    <a:cubicBezTo>
                      <a:pt x="403" y="296"/>
                      <a:pt x="323" y="393"/>
                      <a:pt x="300" y="446"/>
                    </a:cubicBezTo>
                    <a:cubicBezTo>
                      <a:pt x="295" y="455"/>
                      <a:pt x="285" y="452"/>
                      <a:pt x="285" y="441"/>
                    </a:cubicBezTo>
                    <a:lnTo>
                      <a:pt x="285" y="342"/>
                    </a:lnTo>
                    <a:lnTo>
                      <a:pt x="0" y="342"/>
                    </a:lnTo>
                    <a:lnTo>
                      <a:pt x="0" y="290"/>
                    </a:lnTo>
                    <a:lnTo>
                      <a:pt x="61" y="290"/>
                    </a:lnTo>
                    <a:cubicBezTo>
                      <a:pt x="68" y="290"/>
                      <a:pt x="74" y="284"/>
                      <a:pt x="74" y="277"/>
                    </a:cubicBezTo>
                    <a:lnTo>
                      <a:pt x="74" y="228"/>
                    </a:lnTo>
                    <a:lnTo>
                      <a:pt x="74" y="178"/>
                    </a:lnTo>
                    <a:close/>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Rectangle 327">
                <a:extLst>
                  <a:ext uri="{FF2B5EF4-FFF2-40B4-BE49-F238E27FC236}">
                    <a16:creationId xmlns:a16="http://schemas.microsoft.com/office/drawing/2014/main" id="{E3B0AC8A-9556-49E6-A061-3E90B849441B}"/>
                  </a:ext>
                </a:extLst>
              </p:cNvPr>
              <p:cNvSpPr>
                <a:spLocks noChangeArrowheads="1"/>
              </p:cNvSpPr>
              <p:nvPr/>
            </p:nvSpPr>
            <p:spPr bwMode="auto">
              <a:xfrm>
                <a:off x="4368800" y="-1141412"/>
                <a:ext cx="76200" cy="531813"/>
              </a:xfrm>
              <a:prstGeom prst="rect">
                <a:avLst/>
              </a:pr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Freeform 328">
                <a:extLst>
                  <a:ext uri="{FF2B5EF4-FFF2-40B4-BE49-F238E27FC236}">
                    <a16:creationId xmlns:a16="http://schemas.microsoft.com/office/drawing/2014/main" id="{93BF4FA5-6C42-4E04-81E9-44AB32F324C7}"/>
                  </a:ext>
                </a:extLst>
              </p:cNvPr>
              <p:cNvSpPr>
                <a:spLocks/>
              </p:cNvSpPr>
              <p:nvPr/>
            </p:nvSpPr>
            <p:spPr bwMode="auto">
              <a:xfrm>
                <a:off x="4276725" y="-579437"/>
                <a:ext cx="261938" cy="112713"/>
              </a:xfrm>
              <a:custGeom>
                <a:avLst/>
                <a:gdLst>
                  <a:gd name="T0" fmla="*/ 26 w 343"/>
                  <a:gd name="T1" fmla="*/ 95 h 147"/>
                  <a:gd name="T2" fmla="*/ 52 w 343"/>
                  <a:gd name="T3" fmla="*/ 95 h 147"/>
                  <a:gd name="T4" fmla="*/ 40 w 343"/>
                  <a:gd name="T5" fmla="*/ 74 h 147"/>
                  <a:gd name="T6" fmla="*/ 67 w 343"/>
                  <a:gd name="T7" fmla="*/ 47 h 147"/>
                  <a:gd name="T8" fmla="*/ 86 w 343"/>
                  <a:gd name="T9" fmla="*/ 47 h 147"/>
                  <a:gd name="T10" fmla="*/ 74 w 343"/>
                  <a:gd name="T11" fmla="*/ 26 h 147"/>
                  <a:gd name="T12" fmla="*/ 100 w 343"/>
                  <a:gd name="T13" fmla="*/ 0 h 147"/>
                  <a:gd name="T14" fmla="*/ 171 w 343"/>
                  <a:gd name="T15" fmla="*/ 0 h 147"/>
                  <a:gd name="T16" fmla="*/ 242 w 343"/>
                  <a:gd name="T17" fmla="*/ 0 h 147"/>
                  <a:gd name="T18" fmla="*/ 268 w 343"/>
                  <a:gd name="T19" fmla="*/ 26 h 147"/>
                  <a:gd name="T20" fmla="*/ 257 w 343"/>
                  <a:gd name="T21" fmla="*/ 47 h 147"/>
                  <a:gd name="T22" fmla="*/ 276 w 343"/>
                  <a:gd name="T23" fmla="*/ 47 h 147"/>
                  <a:gd name="T24" fmla="*/ 302 w 343"/>
                  <a:gd name="T25" fmla="*/ 74 h 147"/>
                  <a:gd name="T26" fmla="*/ 291 w 343"/>
                  <a:gd name="T27" fmla="*/ 95 h 147"/>
                  <a:gd name="T28" fmla="*/ 317 w 343"/>
                  <a:gd name="T29" fmla="*/ 95 h 147"/>
                  <a:gd name="T30" fmla="*/ 343 w 343"/>
                  <a:gd name="T31" fmla="*/ 121 h 147"/>
                  <a:gd name="T32" fmla="*/ 317 w 343"/>
                  <a:gd name="T33" fmla="*/ 147 h 147"/>
                  <a:gd name="T34" fmla="*/ 171 w 343"/>
                  <a:gd name="T35" fmla="*/ 147 h 147"/>
                  <a:gd name="T36" fmla="*/ 26 w 343"/>
                  <a:gd name="T37" fmla="*/ 147 h 147"/>
                  <a:gd name="T38" fmla="*/ 0 w 343"/>
                  <a:gd name="T39" fmla="*/ 121 h 147"/>
                  <a:gd name="T40" fmla="*/ 26 w 343"/>
                  <a:gd name="T41" fmla="*/ 9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 h="147">
                    <a:moveTo>
                      <a:pt x="26" y="95"/>
                    </a:moveTo>
                    <a:lnTo>
                      <a:pt x="52" y="95"/>
                    </a:lnTo>
                    <a:cubicBezTo>
                      <a:pt x="45" y="90"/>
                      <a:pt x="40" y="83"/>
                      <a:pt x="40" y="74"/>
                    </a:cubicBezTo>
                    <a:cubicBezTo>
                      <a:pt x="40" y="59"/>
                      <a:pt x="52" y="47"/>
                      <a:pt x="67" y="47"/>
                    </a:cubicBezTo>
                    <a:lnTo>
                      <a:pt x="86" y="47"/>
                    </a:lnTo>
                    <a:cubicBezTo>
                      <a:pt x="79" y="43"/>
                      <a:pt x="74" y="35"/>
                      <a:pt x="74" y="26"/>
                    </a:cubicBezTo>
                    <a:cubicBezTo>
                      <a:pt x="74" y="12"/>
                      <a:pt x="86" y="0"/>
                      <a:pt x="100" y="0"/>
                    </a:cubicBezTo>
                    <a:lnTo>
                      <a:pt x="171" y="0"/>
                    </a:lnTo>
                    <a:lnTo>
                      <a:pt x="242" y="0"/>
                    </a:lnTo>
                    <a:cubicBezTo>
                      <a:pt x="257" y="0"/>
                      <a:pt x="268" y="12"/>
                      <a:pt x="268" y="26"/>
                    </a:cubicBezTo>
                    <a:cubicBezTo>
                      <a:pt x="268" y="35"/>
                      <a:pt x="264" y="43"/>
                      <a:pt x="257" y="47"/>
                    </a:cubicBezTo>
                    <a:lnTo>
                      <a:pt x="276" y="47"/>
                    </a:lnTo>
                    <a:cubicBezTo>
                      <a:pt x="291" y="47"/>
                      <a:pt x="302" y="59"/>
                      <a:pt x="302" y="74"/>
                    </a:cubicBezTo>
                    <a:cubicBezTo>
                      <a:pt x="302" y="83"/>
                      <a:pt x="298" y="90"/>
                      <a:pt x="291" y="95"/>
                    </a:cubicBezTo>
                    <a:lnTo>
                      <a:pt x="317" y="95"/>
                    </a:lnTo>
                    <a:cubicBezTo>
                      <a:pt x="331" y="95"/>
                      <a:pt x="343" y="107"/>
                      <a:pt x="343" y="121"/>
                    </a:cubicBezTo>
                    <a:cubicBezTo>
                      <a:pt x="343" y="136"/>
                      <a:pt x="331" y="147"/>
                      <a:pt x="317" y="147"/>
                    </a:cubicBezTo>
                    <a:lnTo>
                      <a:pt x="171" y="147"/>
                    </a:lnTo>
                    <a:lnTo>
                      <a:pt x="26" y="147"/>
                    </a:lnTo>
                    <a:cubicBezTo>
                      <a:pt x="11" y="147"/>
                      <a:pt x="0" y="136"/>
                      <a:pt x="0" y="121"/>
                    </a:cubicBezTo>
                    <a:cubicBezTo>
                      <a:pt x="0" y="107"/>
                      <a:pt x="11" y="95"/>
                      <a:pt x="26" y="95"/>
                    </a:cubicBezTo>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329">
                <a:extLst>
                  <a:ext uri="{FF2B5EF4-FFF2-40B4-BE49-F238E27FC236}">
                    <a16:creationId xmlns:a16="http://schemas.microsoft.com/office/drawing/2014/main" id="{8ECB26FB-EDA6-4E12-8AED-8038F68588DD}"/>
                  </a:ext>
                </a:extLst>
              </p:cNvPr>
              <p:cNvSpPr>
                <a:spLocks/>
              </p:cNvSpPr>
              <p:nvPr/>
            </p:nvSpPr>
            <p:spPr bwMode="auto">
              <a:xfrm>
                <a:off x="4338638" y="-1365250"/>
                <a:ext cx="138113" cy="188913"/>
              </a:xfrm>
              <a:custGeom>
                <a:avLst/>
                <a:gdLst>
                  <a:gd name="T0" fmla="*/ 15 w 181"/>
                  <a:gd name="T1" fmla="*/ 213 h 248"/>
                  <a:gd name="T2" fmla="*/ 23 w 181"/>
                  <a:gd name="T3" fmla="*/ 213 h 248"/>
                  <a:gd name="T4" fmla="*/ 13 w 181"/>
                  <a:gd name="T5" fmla="*/ 203 h 248"/>
                  <a:gd name="T6" fmla="*/ 0 w 181"/>
                  <a:gd name="T7" fmla="*/ 156 h 248"/>
                  <a:gd name="T8" fmla="*/ 60 w 181"/>
                  <a:gd name="T9" fmla="*/ 71 h 248"/>
                  <a:gd name="T10" fmla="*/ 78 w 181"/>
                  <a:gd name="T11" fmla="*/ 29 h 248"/>
                  <a:gd name="T12" fmla="*/ 90 w 181"/>
                  <a:gd name="T13" fmla="*/ 0 h 248"/>
                  <a:gd name="T14" fmla="*/ 103 w 181"/>
                  <a:gd name="T15" fmla="*/ 29 h 248"/>
                  <a:gd name="T16" fmla="*/ 121 w 181"/>
                  <a:gd name="T17" fmla="*/ 71 h 248"/>
                  <a:gd name="T18" fmla="*/ 181 w 181"/>
                  <a:gd name="T19" fmla="*/ 156 h 248"/>
                  <a:gd name="T20" fmla="*/ 168 w 181"/>
                  <a:gd name="T21" fmla="*/ 203 h 248"/>
                  <a:gd name="T22" fmla="*/ 158 w 181"/>
                  <a:gd name="T23" fmla="*/ 213 h 248"/>
                  <a:gd name="T24" fmla="*/ 165 w 181"/>
                  <a:gd name="T25" fmla="*/ 213 h 248"/>
                  <a:gd name="T26" fmla="*/ 181 w 181"/>
                  <a:gd name="T27" fmla="*/ 231 h 248"/>
                  <a:gd name="T28" fmla="*/ 165 w 181"/>
                  <a:gd name="T29" fmla="*/ 248 h 248"/>
                  <a:gd name="T30" fmla="*/ 90 w 181"/>
                  <a:gd name="T31" fmla="*/ 248 h 248"/>
                  <a:gd name="T32" fmla="*/ 15 w 181"/>
                  <a:gd name="T33" fmla="*/ 248 h 248"/>
                  <a:gd name="T34" fmla="*/ 0 w 181"/>
                  <a:gd name="T35" fmla="*/ 231 h 248"/>
                  <a:gd name="T36" fmla="*/ 15 w 181"/>
                  <a:gd name="T37" fmla="*/ 21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 h="248">
                    <a:moveTo>
                      <a:pt x="15" y="213"/>
                    </a:moveTo>
                    <a:lnTo>
                      <a:pt x="23" y="213"/>
                    </a:lnTo>
                    <a:cubicBezTo>
                      <a:pt x="19" y="211"/>
                      <a:pt x="16" y="207"/>
                      <a:pt x="13" y="203"/>
                    </a:cubicBezTo>
                    <a:cubicBezTo>
                      <a:pt x="5" y="191"/>
                      <a:pt x="0" y="175"/>
                      <a:pt x="0" y="156"/>
                    </a:cubicBezTo>
                    <a:cubicBezTo>
                      <a:pt x="0" y="93"/>
                      <a:pt x="38" y="91"/>
                      <a:pt x="60" y="71"/>
                    </a:cubicBezTo>
                    <a:cubicBezTo>
                      <a:pt x="72" y="60"/>
                      <a:pt x="78" y="41"/>
                      <a:pt x="78" y="29"/>
                    </a:cubicBezTo>
                    <a:cubicBezTo>
                      <a:pt x="78" y="8"/>
                      <a:pt x="80" y="0"/>
                      <a:pt x="90" y="0"/>
                    </a:cubicBezTo>
                    <a:cubicBezTo>
                      <a:pt x="101" y="0"/>
                      <a:pt x="103" y="8"/>
                      <a:pt x="103" y="29"/>
                    </a:cubicBezTo>
                    <a:cubicBezTo>
                      <a:pt x="103" y="41"/>
                      <a:pt x="108" y="60"/>
                      <a:pt x="121" y="71"/>
                    </a:cubicBezTo>
                    <a:cubicBezTo>
                      <a:pt x="142" y="91"/>
                      <a:pt x="181" y="93"/>
                      <a:pt x="181" y="156"/>
                    </a:cubicBezTo>
                    <a:cubicBezTo>
                      <a:pt x="181" y="175"/>
                      <a:pt x="175" y="191"/>
                      <a:pt x="168" y="203"/>
                    </a:cubicBezTo>
                    <a:cubicBezTo>
                      <a:pt x="165" y="207"/>
                      <a:pt x="161" y="211"/>
                      <a:pt x="158" y="213"/>
                    </a:cubicBezTo>
                    <a:lnTo>
                      <a:pt x="165" y="213"/>
                    </a:lnTo>
                    <a:cubicBezTo>
                      <a:pt x="174" y="213"/>
                      <a:pt x="181" y="221"/>
                      <a:pt x="181" y="231"/>
                    </a:cubicBezTo>
                    <a:cubicBezTo>
                      <a:pt x="181" y="240"/>
                      <a:pt x="174" y="248"/>
                      <a:pt x="165" y="248"/>
                    </a:cubicBezTo>
                    <a:lnTo>
                      <a:pt x="90" y="248"/>
                    </a:lnTo>
                    <a:lnTo>
                      <a:pt x="15" y="248"/>
                    </a:lnTo>
                    <a:cubicBezTo>
                      <a:pt x="7" y="248"/>
                      <a:pt x="0" y="240"/>
                      <a:pt x="0" y="231"/>
                    </a:cubicBezTo>
                    <a:cubicBezTo>
                      <a:pt x="0" y="221"/>
                      <a:pt x="7" y="213"/>
                      <a:pt x="15" y="213"/>
                    </a:cubicBezTo>
                    <a:close/>
                  </a:path>
                </a:pathLst>
              </a:custGeom>
              <a:grpFill/>
              <a:ln w="19050">
                <a:solidFill>
                  <a:srgbClr val="1B9D9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7" name="Target10" descr="{&quot;Key&quot;:&quot;POWER_USER_SHAPE_ICON&quot;,&quot;Value&quot;:&quot;POWER_USER_SHAPE_ICON_STYLE_1&quot;}">
            <a:extLst>
              <a:ext uri="{FF2B5EF4-FFF2-40B4-BE49-F238E27FC236}">
                <a16:creationId xmlns:a16="http://schemas.microsoft.com/office/drawing/2014/main" id="{692B38D3-57E9-484D-A139-CF6459AC2E5D}"/>
              </a:ext>
            </a:extLst>
          </p:cNvPr>
          <p:cNvGrpSpPr>
            <a:grpSpLocks noChangeAspect="1"/>
          </p:cNvGrpSpPr>
          <p:nvPr/>
        </p:nvGrpSpPr>
        <p:grpSpPr>
          <a:xfrm>
            <a:off x="1295787" y="1340584"/>
            <a:ext cx="579399" cy="578532"/>
            <a:chOff x="8467764" y="1468438"/>
            <a:chExt cx="579399" cy="578532"/>
          </a:xfrm>
        </p:grpSpPr>
        <p:sp>
          <p:nvSpPr>
            <p:cNvPr id="228" name="Arc 227">
              <a:extLst>
                <a:ext uri="{FF2B5EF4-FFF2-40B4-BE49-F238E27FC236}">
                  <a16:creationId xmlns:a16="http://schemas.microsoft.com/office/drawing/2014/main" id="{64396336-4D33-459F-BA89-49556D07B4FB}"/>
                </a:ext>
              </a:extLst>
            </p:cNvPr>
            <p:cNvSpPr>
              <a:spLocks noChangeAspect="1"/>
            </p:cNvSpPr>
            <p:nvPr/>
          </p:nvSpPr>
          <p:spPr>
            <a:xfrm flipH="1">
              <a:off x="8467764" y="1511339"/>
              <a:ext cx="535631" cy="535631"/>
            </a:xfrm>
            <a:prstGeom prst="arc">
              <a:avLst>
                <a:gd name="adj1" fmla="val 14700753"/>
                <a:gd name="adj2" fmla="val 12223995"/>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Freeform 2594">
              <a:extLst>
                <a:ext uri="{FF2B5EF4-FFF2-40B4-BE49-F238E27FC236}">
                  <a16:creationId xmlns:a16="http://schemas.microsoft.com/office/drawing/2014/main" id="{856C0664-9C09-4787-A0CE-E57EAD9006B2}"/>
                </a:ext>
              </a:extLst>
            </p:cNvPr>
            <p:cNvSpPr>
              <a:spLocks/>
            </p:cNvSpPr>
            <p:nvPr/>
          </p:nvSpPr>
          <p:spPr bwMode="auto">
            <a:xfrm>
              <a:off x="8880475" y="1468438"/>
              <a:ext cx="166688" cy="166688"/>
            </a:xfrm>
            <a:custGeom>
              <a:avLst/>
              <a:gdLst>
                <a:gd name="T0" fmla="*/ 81 w 149"/>
                <a:gd name="T1" fmla="*/ 0 h 149"/>
                <a:gd name="T2" fmla="*/ 81 w 149"/>
                <a:gd name="T3" fmla="*/ 68 h 149"/>
                <a:gd name="T4" fmla="*/ 149 w 149"/>
                <a:gd name="T5" fmla="*/ 68 h 149"/>
                <a:gd name="T6" fmla="*/ 69 w 149"/>
                <a:gd name="T7" fmla="*/ 149 h 149"/>
                <a:gd name="T8" fmla="*/ 0 w 149"/>
                <a:gd name="T9" fmla="*/ 149 h 149"/>
                <a:gd name="T10" fmla="*/ 0 w 149"/>
                <a:gd name="T11" fmla="*/ 81 h 149"/>
                <a:gd name="T12" fmla="*/ 81 w 149"/>
                <a:gd name="T13" fmla="*/ 0 h 149"/>
              </a:gdLst>
              <a:ahLst/>
              <a:cxnLst>
                <a:cxn ang="0">
                  <a:pos x="T0" y="T1"/>
                </a:cxn>
                <a:cxn ang="0">
                  <a:pos x="T2" y="T3"/>
                </a:cxn>
                <a:cxn ang="0">
                  <a:pos x="T4" y="T5"/>
                </a:cxn>
                <a:cxn ang="0">
                  <a:pos x="T6" y="T7"/>
                </a:cxn>
                <a:cxn ang="0">
                  <a:pos x="T8" y="T9"/>
                </a:cxn>
                <a:cxn ang="0">
                  <a:pos x="T10" y="T11"/>
                </a:cxn>
                <a:cxn ang="0">
                  <a:pos x="T12" y="T13"/>
                </a:cxn>
              </a:cxnLst>
              <a:rect l="0" t="0" r="r" b="b"/>
              <a:pathLst>
                <a:path w="149" h="149">
                  <a:moveTo>
                    <a:pt x="81" y="0"/>
                  </a:moveTo>
                  <a:lnTo>
                    <a:pt x="81" y="68"/>
                  </a:lnTo>
                  <a:lnTo>
                    <a:pt x="149" y="68"/>
                  </a:lnTo>
                  <a:lnTo>
                    <a:pt x="69" y="149"/>
                  </a:lnTo>
                  <a:lnTo>
                    <a:pt x="0" y="149"/>
                  </a:lnTo>
                  <a:lnTo>
                    <a:pt x="0" y="81"/>
                  </a:lnTo>
                  <a:lnTo>
                    <a:pt x="81" y="0"/>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Line 2595">
              <a:extLst>
                <a:ext uri="{FF2B5EF4-FFF2-40B4-BE49-F238E27FC236}">
                  <a16:creationId xmlns:a16="http://schemas.microsoft.com/office/drawing/2014/main" id="{C70E0ACA-A52D-4364-8EFC-83780FDFB946}"/>
                </a:ext>
              </a:extLst>
            </p:cNvPr>
            <p:cNvSpPr>
              <a:spLocks noChangeShapeType="1"/>
            </p:cNvSpPr>
            <p:nvPr/>
          </p:nvSpPr>
          <p:spPr bwMode="auto">
            <a:xfrm flipH="1">
              <a:off x="8736013" y="1635125"/>
              <a:ext cx="144463" cy="14446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Arc 230">
              <a:extLst>
                <a:ext uri="{FF2B5EF4-FFF2-40B4-BE49-F238E27FC236}">
                  <a16:creationId xmlns:a16="http://schemas.microsoft.com/office/drawing/2014/main" id="{408FF5A1-917E-4577-AFA6-1B3B38CE785F}"/>
                </a:ext>
              </a:extLst>
            </p:cNvPr>
            <p:cNvSpPr>
              <a:spLocks noChangeAspect="1"/>
            </p:cNvSpPr>
            <p:nvPr/>
          </p:nvSpPr>
          <p:spPr>
            <a:xfrm flipH="1">
              <a:off x="8561389" y="1606551"/>
              <a:ext cx="347613" cy="347613"/>
            </a:xfrm>
            <a:prstGeom prst="arc">
              <a:avLst>
                <a:gd name="adj1" fmla="val 14335992"/>
                <a:gd name="adj2" fmla="val 12531878"/>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Arc 231">
              <a:extLst>
                <a:ext uri="{FF2B5EF4-FFF2-40B4-BE49-F238E27FC236}">
                  <a16:creationId xmlns:a16="http://schemas.microsoft.com/office/drawing/2014/main" id="{502BCDE6-D942-4F4D-9C24-AF975447B92D}"/>
                </a:ext>
              </a:extLst>
            </p:cNvPr>
            <p:cNvSpPr>
              <a:spLocks noChangeAspect="1"/>
            </p:cNvSpPr>
            <p:nvPr/>
          </p:nvSpPr>
          <p:spPr>
            <a:xfrm flipH="1">
              <a:off x="8655068" y="1698643"/>
              <a:ext cx="161898" cy="161898"/>
            </a:xfrm>
            <a:prstGeom prst="arc">
              <a:avLst>
                <a:gd name="adj1" fmla="val 14837703"/>
                <a:gd name="adj2" fmla="val 12118974"/>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48853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8553A8BF-F4FB-4915-8261-DAB4384F1968}"/>
              </a:ext>
            </a:extLst>
          </p:cNvPr>
          <p:cNvGraphicFramePr>
            <a:graphicFrameLocks noChangeAspect="1"/>
          </p:cNvGraphicFramePr>
          <p:nvPr>
            <p:custDataLst>
              <p:tags r:id="rId1"/>
            </p:custDataLst>
            <p:extLst>
              <p:ext uri="{D42A27DB-BD31-4B8C-83A1-F6EECF244321}">
                <p14:modId xmlns:p14="http://schemas.microsoft.com/office/powerpoint/2010/main" val="4039160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7" name="Objet 6" hidden="1">
                        <a:extLst>
                          <a:ext uri="{FF2B5EF4-FFF2-40B4-BE49-F238E27FC236}">
                            <a16:creationId xmlns:a16="http://schemas.microsoft.com/office/drawing/2014/main" id="{8553A8BF-F4FB-4915-8261-DAB4384F19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e la date 2">
            <a:extLst>
              <a:ext uri="{FF2B5EF4-FFF2-40B4-BE49-F238E27FC236}">
                <a16:creationId xmlns:a16="http://schemas.microsoft.com/office/drawing/2014/main" id="{AAB30CDC-2717-4AFF-8396-C23E3ABA90B1}"/>
              </a:ext>
            </a:extLst>
          </p:cNvPr>
          <p:cNvSpPr>
            <a:spLocks noGrp="1"/>
          </p:cNvSpPr>
          <p:nvPr>
            <p:ph type="dt" sz="half" idx="14"/>
          </p:nvPr>
        </p:nvSpPr>
        <p:spPr/>
        <p:txBody>
          <a:bodyPr/>
          <a:lstStyle/>
          <a:p>
            <a:r>
              <a:rPr lang="fr-FR"/>
              <a:t>Date</a:t>
            </a:r>
            <a:endParaRPr lang="fr-FR" dirty="0"/>
          </a:p>
        </p:txBody>
      </p:sp>
      <p:sp>
        <p:nvSpPr>
          <p:cNvPr id="4" name="Espace réservé du pied de page 3">
            <a:extLst>
              <a:ext uri="{FF2B5EF4-FFF2-40B4-BE49-F238E27FC236}">
                <a16:creationId xmlns:a16="http://schemas.microsoft.com/office/drawing/2014/main" id="{15F8A439-3814-4F46-9861-A084069C5013}"/>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5" name="Espace réservé du numéro de diapositive 4">
            <a:extLst>
              <a:ext uri="{FF2B5EF4-FFF2-40B4-BE49-F238E27FC236}">
                <a16:creationId xmlns:a16="http://schemas.microsoft.com/office/drawing/2014/main" id="{F069AA48-8B41-4E9A-AA7D-CF61665037B2}"/>
              </a:ext>
            </a:extLst>
          </p:cNvPr>
          <p:cNvSpPr>
            <a:spLocks noGrp="1"/>
          </p:cNvSpPr>
          <p:nvPr>
            <p:ph type="sldNum" sz="quarter" idx="16"/>
          </p:nvPr>
        </p:nvSpPr>
        <p:spPr/>
        <p:txBody>
          <a:bodyPr/>
          <a:lstStyle/>
          <a:p>
            <a:fld id="{733122C9-A0B9-462F-8757-0847AD287B63}" type="slidenum">
              <a:rPr lang="fr-FR" smtClean="0"/>
              <a:pPr/>
              <a:t>7</a:t>
            </a:fld>
            <a:endParaRPr lang="fr-FR" dirty="0"/>
          </a:p>
        </p:txBody>
      </p:sp>
      <p:sp>
        <p:nvSpPr>
          <p:cNvPr id="6" name="Espace réservé du texte 5">
            <a:extLst>
              <a:ext uri="{FF2B5EF4-FFF2-40B4-BE49-F238E27FC236}">
                <a16:creationId xmlns:a16="http://schemas.microsoft.com/office/drawing/2014/main" id="{37C5D5A6-0939-466D-87B2-2901092813ED}"/>
              </a:ext>
            </a:extLst>
          </p:cNvPr>
          <p:cNvSpPr>
            <a:spLocks noGrp="1"/>
          </p:cNvSpPr>
          <p:nvPr>
            <p:ph type="body" sz="quarter" idx="17"/>
          </p:nvPr>
        </p:nvSpPr>
        <p:spPr/>
        <p:txBody>
          <a:bodyPr/>
          <a:lstStyle/>
          <a:p>
            <a:r>
              <a:rPr lang="fr-FR" dirty="0"/>
              <a:t>Quels intérêts économiques?</a:t>
            </a:r>
          </a:p>
        </p:txBody>
      </p:sp>
    </p:spTree>
    <p:extLst>
      <p:ext uri="{BB962C8B-B14F-4D97-AF65-F5344CB8AC3E}">
        <p14:creationId xmlns:p14="http://schemas.microsoft.com/office/powerpoint/2010/main" val="2773665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A333BEEA-AA2F-4C92-9929-5FF716FE9C06}"/>
              </a:ext>
            </a:extLst>
          </p:cNvPr>
          <p:cNvGraphicFramePr>
            <a:graphicFrameLocks noChangeAspect="1"/>
          </p:cNvGraphicFramePr>
          <p:nvPr>
            <p:custDataLst>
              <p:tags r:id="rId1"/>
            </p:custDataLst>
            <p:extLst>
              <p:ext uri="{D42A27DB-BD31-4B8C-83A1-F6EECF244321}">
                <p14:modId xmlns:p14="http://schemas.microsoft.com/office/powerpoint/2010/main" val="1529251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15" name="Objet 14" hidden="1">
                        <a:extLst>
                          <a:ext uri="{FF2B5EF4-FFF2-40B4-BE49-F238E27FC236}">
                            <a16:creationId xmlns:a16="http://schemas.microsoft.com/office/drawing/2014/main" id="{A333BEEA-AA2F-4C92-9929-5FF716FE9C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A58DF40-F2AA-4224-BFE3-047B2F90759F}"/>
              </a:ext>
            </a:extLst>
          </p:cNvPr>
          <p:cNvSpPr>
            <a:spLocks noGrp="1"/>
          </p:cNvSpPr>
          <p:nvPr>
            <p:ph type="title"/>
          </p:nvPr>
        </p:nvSpPr>
        <p:spPr/>
        <p:txBody>
          <a:bodyPr vert="horz"/>
          <a:lstStyle/>
          <a:p>
            <a:r>
              <a:rPr lang="fr-FR" dirty="0"/>
              <a:t>Quelques réponses…</a:t>
            </a:r>
          </a:p>
        </p:txBody>
      </p:sp>
      <p:sp>
        <p:nvSpPr>
          <p:cNvPr id="5" name="Espace réservé de la date 4">
            <a:extLst>
              <a:ext uri="{FF2B5EF4-FFF2-40B4-BE49-F238E27FC236}">
                <a16:creationId xmlns:a16="http://schemas.microsoft.com/office/drawing/2014/main" id="{2BDE264D-B8C6-4456-9EA0-46B24F1877B9}"/>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46E8C167-927B-487B-96F0-5A6687D0F6D7}"/>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D0ECEF8D-C744-45DC-AB27-93F8EC8897AE}"/>
              </a:ext>
            </a:extLst>
          </p:cNvPr>
          <p:cNvSpPr>
            <a:spLocks noGrp="1"/>
          </p:cNvSpPr>
          <p:nvPr>
            <p:ph type="sldNum" sz="quarter" idx="16"/>
          </p:nvPr>
        </p:nvSpPr>
        <p:spPr/>
        <p:txBody>
          <a:bodyPr/>
          <a:lstStyle/>
          <a:p>
            <a:fld id="{733122C9-A0B9-462F-8757-0847AD287B63}" type="slidenum">
              <a:rPr lang="fr-FR" smtClean="0"/>
              <a:pPr/>
              <a:t>8</a:t>
            </a:fld>
            <a:endParaRPr lang="fr-FR" dirty="0"/>
          </a:p>
        </p:txBody>
      </p:sp>
      <p:sp>
        <p:nvSpPr>
          <p:cNvPr id="9" name="Rectangle 8">
            <a:extLst>
              <a:ext uri="{FF2B5EF4-FFF2-40B4-BE49-F238E27FC236}">
                <a16:creationId xmlns:a16="http://schemas.microsoft.com/office/drawing/2014/main" id="{B9A0DD31-64EC-41F0-BF81-0F6F703C671C}"/>
              </a:ext>
            </a:extLst>
          </p:cNvPr>
          <p:cNvSpPr/>
          <p:nvPr/>
        </p:nvSpPr>
        <p:spPr>
          <a:xfrm>
            <a:off x="544370" y="2628975"/>
            <a:ext cx="3295387" cy="1600051"/>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ea typeface="Times New Roman" panose="02020603050405020304" pitchFamily="18" charset="0"/>
                <a:cs typeface="Calibri" panose="020F0502020204030204" pitchFamily="34" charset="0"/>
              </a:rPr>
              <a:t>Le titane recyclé est de qualité moindre, il coûte moins, sa valeur d'usage est plus limitée...</a:t>
            </a:r>
            <a:endParaRPr lang="fr-FR" dirty="0">
              <a:solidFill>
                <a:schemeClr val="tx2"/>
              </a:solidFill>
              <a:latin typeface="Calibri" panose="020F0502020204030204" pitchFamily="34" charset="0"/>
              <a:cs typeface="Calibri" panose="020F0502020204030204" pitchFamily="34" charset="0"/>
            </a:endParaRPr>
          </a:p>
        </p:txBody>
      </p:sp>
      <p:sp>
        <p:nvSpPr>
          <p:cNvPr id="10" name="ZoneTexte 9">
            <a:extLst>
              <a:ext uri="{FF2B5EF4-FFF2-40B4-BE49-F238E27FC236}">
                <a16:creationId xmlns:a16="http://schemas.microsoft.com/office/drawing/2014/main" id="{499FE6D7-3AC0-4E49-AD57-412D5DD55902}"/>
              </a:ext>
            </a:extLst>
          </p:cNvPr>
          <p:cNvSpPr txBox="1"/>
          <p:nvPr/>
        </p:nvSpPr>
        <p:spPr>
          <a:xfrm>
            <a:off x="139662" y="2341741"/>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sp>
        <p:nvSpPr>
          <p:cNvPr id="11" name="ZoneTexte 10">
            <a:extLst>
              <a:ext uri="{FF2B5EF4-FFF2-40B4-BE49-F238E27FC236}">
                <a16:creationId xmlns:a16="http://schemas.microsoft.com/office/drawing/2014/main" id="{3F9861F9-F487-44BF-BBAE-3AF173EB375E}"/>
              </a:ext>
            </a:extLst>
          </p:cNvPr>
          <p:cNvSpPr txBox="1"/>
          <p:nvPr/>
        </p:nvSpPr>
        <p:spPr>
          <a:xfrm>
            <a:off x="3416180" y="3281185"/>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
        <p:nvSpPr>
          <p:cNvPr id="22" name="ZoneTexte 21">
            <a:extLst>
              <a:ext uri="{FF2B5EF4-FFF2-40B4-BE49-F238E27FC236}">
                <a16:creationId xmlns:a16="http://schemas.microsoft.com/office/drawing/2014/main" id="{372BA8F8-5677-4643-B800-811CC944DAC1}"/>
              </a:ext>
            </a:extLst>
          </p:cNvPr>
          <p:cNvSpPr txBox="1"/>
          <p:nvPr/>
        </p:nvSpPr>
        <p:spPr>
          <a:xfrm>
            <a:off x="4727855" y="3535789"/>
            <a:ext cx="3984346" cy="1969770"/>
          </a:xfrm>
          <a:prstGeom prst="rect">
            <a:avLst/>
          </a:prstGeom>
          <a:noFill/>
        </p:spPr>
        <p:txBody>
          <a:bodyPr wrap="square" rtlCol="0">
            <a:spAutoFit/>
          </a:bodyPr>
          <a:lstStyle/>
          <a:p>
            <a:pPr marL="360363" indent="-177800" algn="just">
              <a:spcAft>
                <a:spcPts val="6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es procédés mis en œuvre depuis la collecte, la préparation des chutes (</a:t>
            </a:r>
            <a:r>
              <a:rPr lang="fr-FR" sz="1400" dirty="0" err="1">
                <a:solidFill>
                  <a:schemeClr val="tx2"/>
                </a:solidFill>
                <a:cs typeface="Calibri" panose="020F0502020204030204" pitchFamily="34" charset="0"/>
              </a:rPr>
              <a:t>processing</a:t>
            </a:r>
            <a:r>
              <a:rPr lang="fr-FR" sz="1400" dirty="0">
                <a:solidFill>
                  <a:schemeClr val="tx2"/>
                </a:solidFill>
                <a:cs typeface="Calibri" panose="020F0502020204030204" pitchFamily="34" charset="0"/>
              </a:rPr>
              <a:t>), la préparation des lots d’enfournement jusqu'à la fusion garantissent une qualité au summum de l'état de l’art.</a:t>
            </a:r>
          </a:p>
          <a:p>
            <a:pPr marL="360363" indent="-177800" algn="just">
              <a:spcBef>
                <a:spcPts val="600"/>
              </a:spcBef>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e procédé PAMCHR permet de diviser par 10 le nombre de défauts </a:t>
            </a:r>
            <a:r>
              <a:rPr lang="fr-FR" sz="1400" dirty="0" err="1">
                <a:solidFill>
                  <a:schemeClr val="tx2"/>
                </a:solidFill>
                <a:cs typeface="Calibri" panose="020F0502020204030204" pitchFamily="34" charset="0"/>
              </a:rPr>
              <a:t>inclusionnaires</a:t>
            </a:r>
            <a:r>
              <a:rPr lang="fr-FR" sz="1400" dirty="0">
                <a:solidFill>
                  <a:schemeClr val="tx2"/>
                </a:solidFill>
                <a:cs typeface="Calibri" panose="020F0502020204030204" pitchFamily="34" charset="0"/>
              </a:rPr>
              <a:t>!</a:t>
            </a:r>
          </a:p>
        </p:txBody>
      </p:sp>
      <p:sp>
        <p:nvSpPr>
          <p:cNvPr id="58" name="ZoneTexte 57">
            <a:extLst>
              <a:ext uri="{FF2B5EF4-FFF2-40B4-BE49-F238E27FC236}">
                <a16:creationId xmlns:a16="http://schemas.microsoft.com/office/drawing/2014/main" id="{2E4EE5A2-FF55-4284-AE33-3D155BA47657}"/>
              </a:ext>
            </a:extLst>
          </p:cNvPr>
          <p:cNvSpPr txBox="1"/>
          <p:nvPr/>
        </p:nvSpPr>
        <p:spPr>
          <a:xfrm>
            <a:off x="5117291" y="3046347"/>
            <a:ext cx="1647694" cy="200055"/>
          </a:xfrm>
          <a:prstGeom prst="rect">
            <a:avLst/>
          </a:prstGeom>
          <a:noFill/>
        </p:spPr>
        <p:txBody>
          <a:bodyPr wrap="square" rtlCol="0">
            <a:spAutoFit/>
          </a:bodyPr>
          <a:lstStyle/>
          <a:p>
            <a:r>
              <a:rPr lang="fr-FR" sz="700" dirty="0">
                <a:solidFill>
                  <a:schemeClr val="tx2"/>
                </a:solidFill>
              </a:rPr>
              <a:t>Source: Safran / </a:t>
            </a:r>
            <a:r>
              <a:rPr lang="fr-FR" sz="700" dirty="0" err="1">
                <a:solidFill>
                  <a:schemeClr val="tx2"/>
                </a:solidFill>
              </a:rPr>
              <a:t>JetQC</a:t>
            </a:r>
            <a:endParaRPr lang="fr-FR" sz="700" dirty="0">
              <a:solidFill>
                <a:schemeClr val="tx2"/>
              </a:solidFill>
            </a:endParaRPr>
          </a:p>
        </p:txBody>
      </p:sp>
      <p:cxnSp>
        <p:nvCxnSpPr>
          <p:cNvPr id="49" name="Connecteur droit 48">
            <a:extLst>
              <a:ext uri="{FF2B5EF4-FFF2-40B4-BE49-F238E27FC236}">
                <a16:creationId xmlns:a16="http://schemas.microsoft.com/office/drawing/2014/main" id="{12EFEDC3-34BB-4CEA-8A93-2D1C727AAADF}"/>
              </a:ext>
            </a:extLst>
          </p:cNvPr>
          <p:cNvCxnSpPr/>
          <p:nvPr/>
        </p:nvCxnSpPr>
        <p:spPr>
          <a:xfrm>
            <a:off x="4573646" y="1423592"/>
            <a:ext cx="0" cy="3996000"/>
          </a:xfrm>
          <a:prstGeom prst="line">
            <a:avLst/>
          </a:prstGeom>
          <a:ln>
            <a:solidFill>
              <a:srgbClr val="1B9D91"/>
            </a:solidFill>
          </a:ln>
        </p:spPr>
        <p:style>
          <a:lnRef idx="1">
            <a:schemeClr val="accent1"/>
          </a:lnRef>
          <a:fillRef idx="0">
            <a:schemeClr val="accent1"/>
          </a:fillRef>
          <a:effectRef idx="0">
            <a:schemeClr val="accent1"/>
          </a:effectRef>
          <a:fontRef idx="minor">
            <a:schemeClr val="tx1"/>
          </a:fontRef>
        </p:style>
      </p:cxnSp>
      <p:grpSp>
        <p:nvGrpSpPr>
          <p:cNvPr id="56" name="Group 10">
            <a:extLst>
              <a:ext uri="{FF2B5EF4-FFF2-40B4-BE49-F238E27FC236}">
                <a16:creationId xmlns:a16="http://schemas.microsoft.com/office/drawing/2014/main" id="{9056A0FD-8631-4486-967E-F83C623DE3BC}"/>
              </a:ext>
            </a:extLst>
          </p:cNvPr>
          <p:cNvGrpSpPr>
            <a:grpSpLocks noChangeAspect="1"/>
          </p:cNvGrpSpPr>
          <p:nvPr/>
        </p:nvGrpSpPr>
        <p:grpSpPr>
          <a:xfrm rot="16200000">
            <a:off x="4354046" y="3209400"/>
            <a:ext cx="439200" cy="439200"/>
            <a:chOff x="477582" y="2362623"/>
            <a:chExt cx="590158" cy="590158"/>
          </a:xfrm>
        </p:grpSpPr>
        <p:sp>
          <p:nvSpPr>
            <p:cNvPr id="60" name="Oval 14">
              <a:extLst>
                <a:ext uri="{FF2B5EF4-FFF2-40B4-BE49-F238E27FC236}">
                  <a16:creationId xmlns:a16="http://schemas.microsoft.com/office/drawing/2014/main" id="{0A363E9E-293C-40E6-AAD0-C80D111100AF}"/>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61" name="ChevronBlue 33">
              <a:extLst>
                <a:ext uri="{FF2B5EF4-FFF2-40B4-BE49-F238E27FC236}">
                  <a16:creationId xmlns:a16="http://schemas.microsoft.com/office/drawing/2014/main" id="{F88E9F2D-9B77-4582-B168-913A2F419210}"/>
                </a:ext>
              </a:extLst>
            </p:cNvPr>
            <p:cNvGrpSpPr>
              <a:grpSpLocks noChangeAspect="1"/>
            </p:cNvGrpSpPr>
            <p:nvPr>
              <p:custDataLst>
                <p:tags r:id="rId2"/>
              </p:custDataLst>
            </p:nvPr>
          </p:nvGrpSpPr>
          <p:grpSpPr>
            <a:xfrm rot="5400000">
              <a:off x="554736" y="2439776"/>
              <a:ext cx="435851" cy="435851"/>
              <a:chOff x="1016000" y="1016000"/>
              <a:chExt cx="396228" cy="396228"/>
            </a:xfrm>
          </p:grpSpPr>
          <p:sp>
            <p:nvSpPr>
              <p:cNvPr id="62" name="Oval 16">
                <a:extLst>
                  <a:ext uri="{FF2B5EF4-FFF2-40B4-BE49-F238E27FC236}">
                    <a16:creationId xmlns:a16="http://schemas.microsoft.com/office/drawing/2014/main" id="{1141EACC-56DC-49E3-B4FC-8EE81F7007D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63" name="Freeform: Shape 17">
                <a:extLst>
                  <a:ext uri="{FF2B5EF4-FFF2-40B4-BE49-F238E27FC236}">
                    <a16:creationId xmlns:a16="http://schemas.microsoft.com/office/drawing/2014/main" id="{4AA41C5A-5E87-4F3E-82CC-CDE275DFE746}"/>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pic>
        <p:nvPicPr>
          <p:cNvPr id="3" name="Image 2">
            <a:extLst>
              <a:ext uri="{FF2B5EF4-FFF2-40B4-BE49-F238E27FC236}">
                <a16:creationId xmlns:a16="http://schemas.microsoft.com/office/drawing/2014/main" id="{3374DD3E-E2EC-438B-A993-49BC0B57592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17291" y="1429903"/>
            <a:ext cx="3627469" cy="1630918"/>
          </a:xfrm>
          <a:prstGeom prst="rect">
            <a:avLst/>
          </a:prstGeom>
        </p:spPr>
      </p:pic>
    </p:spTree>
    <p:extLst>
      <p:ext uri="{BB962C8B-B14F-4D97-AF65-F5344CB8AC3E}">
        <p14:creationId xmlns:p14="http://schemas.microsoft.com/office/powerpoint/2010/main" val="10092421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 21" hidden="1">
            <a:extLst>
              <a:ext uri="{FF2B5EF4-FFF2-40B4-BE49-F238E27FC236}">
                <a16:creationId xmlns:a16="http://schemas.microsoft.com/office/drawing/2014/main" id="{BDAA4D42-1B17-496D-9AA4-3A864DE54A69}"/>
              </a:ext>
            </a:extLst>
          </p:cNvPr>
          <p:cNvGraphicFramePr>
            <a:graphicFrameLocks noChangeAspect="1"/>
          </p:cNvGraphicFramePr>
          <p:nvPr>
            <p:custDataLst>
              <p:tags r:id="rId1"/>
            </p:custDataLst>
            <p:extLst>
              <p:ext uri="{D42A27DB-BD31-4B8C-83A1-F6EECF244321}">
                <p14:modId xmlns:p14="http://schemas.microsoft.com/office/powerpoint/2010/main" val="1748211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2" name="Objet 21" hidden="1">
                        <a:extLst>
                          <a:ext uri="{FF2B5EF4-FFF2-40B4-BE49-F238E27FC236}">
                            <a16:creationId xmlns:a16="http://schemas.microsoft.com/office/drawing/2014/main" id="{BDAA4D42-1B17-496D-9AA4-3A864DE54A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4ABBB42A-20C3-44C0-9BFE-AF162B9102FA}"/>
              </a:ext>
            </a:extLst>
          </p:cNvPr>
          <p:cNvSpPr>
            <a:spLocks noGrp="1"/>
          </p:cNvSpPr>
          <p:nvPr>
            <p:ph type="title"/>
          </p:nvPr>
        </p:nvSpPr>
        <p:spPr/>
        <p:txBody>
          <a:bodyPr vert="horz"/>
          <a:lstStyle/>
          <a:p>
            <a:r>
              <a:rPr lang="fr-FR" dirty="0"/>
              <a:t>Quelques réponses…</a:t>
            </a:r>
          </a:p>
        </p:txBody>
      </p:sp>
      <p:sp>
        <p:nvSpPr>
          <p:cNvPr id="5" name="Espace réservé de la date 4">
            <a:extLst>
              <a:ext uri="{FF2B5EF4-FFF2-40B4-BE49-F238E27FC236}">
                <a16:creationId xmlns:a16="http://schemas.microsoft.com/office/drawing/2014/main" id="{2C7070EF-0038-486E-8136-2DFDB8B31867}"/>
              </a:ext>
            </a:extLst>
          </p:cNvPr>
          <p:cNvSpPr>
            <a:spLocks noGrp="1"/>
          </p:cNvSpPr>
          <p:nvPr>
            <p:ph type="dt" sz="half" idx="14"/>
          </p:nvPr>
        </p:nvSpPr>
        <p:spPr/>
        <p:txBody>
          <a:bodyPr/>
          <a:lstStyle/>
          <a:p>
            <a:r>
              <a:rPr lang="fr-FR"/>
              <a:t>Date</a:t>
            </a:r>
            <a:endParaRPr lang="fr-FR" dirty="0"/>
          </a:p>
        </p:txBody>
      </p:sp>
      <p:sp>
        <p:nvSpPr>
          <p:cNvPr id="6" name="Espace réservé du pied de page 5">
            <a:extLst>
              <a:ext uri="{FF2B5EF4-FFF2-40B4-BE49-F238E27FC236}">
                <a16:creationId xmlns:a16="http://schemas.microsoft.com/office/drawing/2014/main" id="{470565F2-4158-4CEA-804E-C96415E8DFEE}"/>
              </a:ext>
            </a:extLst>
          </p:cNvPr>
          <p:cNvSpPr>
            <a:spLocks noGrp="1"/>
          </p:cNvSpPr>
          <p:nvPr>
            <p:ph type="ftr" sz="quarter" idx="15"/>
          </p:nvPr>
        </p:nvSpPr>
        <p:spPr/>
        <p:txBody>
          <a:bodyPr/>
          <a:lstStyle/>
          <a:p>
            <a:pPr algn="l"/>
            <a:r>
              <a:rPr lang="fr-FR"/>
              <a:t>EcoTitanium / UKAD : les avantages de la filière Titane</a:t>
            </a:r>
            <a:endParaRPr lang="fr-FR" dirty="0"/>
          </a:p>
        </p:txBody>
      </p:sp>
      <p:sp>
        <p:nvSpPr>
          <p:cNvPr id="7" name="Espace réservé du numéro de diapositive 6">
            <a:extLst>
              <a:ext uri="{FF2B5EF4-FFF2-40B4-BE49-F238E27FC236}">
                <a16:creationId xmlns:a16="http://schemas.microsoft.com/office/drawing/2014/main" id="{AF4539FD-6968-49B4-81F2-10086AC60738}"/>
              </a:ext>
            </a:extLst>
          </p:cNvPr>
          <p:cNvSpPr>
            <a:spLocks noGrp="1"/>
          </p:cNvSpPr>
          <p:nvPr>
            <p:ph type="sldNum" sz="quarter" idx="16"/>
          </p:nvPr>
        </p:nvSpPr>
        <p:spPr/>
        <p:txBody>
          <a:bodyPr/>
          <a:lstStyle/>
          <a:p>
            <a:fld id="{733122C9-A0B9-462F-8757-0847AD287B63}" type="slidenum">
              <a:rPr lang="fr-FR" smtClean="0"/>
              <a:pPr/>
              <a:t>9</a:t>
            </a:fld>
            <a:endParaRPr lang="fr-FR" dirty="0"/>
          </a:p>
        </p:txBody>
      </p:sp>
      <p:sp>
        <p:nvSpPr>
          <p:cNvPr id="11" name="ZoneTexte 10">
            <a:extLst>
              <a:ext uri="{FF2B5EF4-FFF2-40B4-BE49-F238E27FC236}">
                <a16:creationId xmlns:a16="http://schemas.microsoft.com/office/drawing/2014/main" id="{68AB13C4-5B0B-42C6-8687-2880DADA88F9}"/>
              </a:ext>
            </a:extLst>
          </p:cNvPr>
          <p:cNvSpPr txBox="1"/>
          <p:nvPr/>
        </p:nvSpPr>
        <p:spPr>
          <a:xfrm>
            <a:off x="4727855" y="3612789"/>
            <a:ext cx="3984346" cy="2400657"/>
          </a:xfrm>
          <a:prstGeom prst="rect">
            <a:avLst/>
          </a:prstGeom>
          <a:noFill/>
        </p:spPr>
        <p:txBody>
          <a:bodyPr wrap="square" rtlCol="0">
            <a:spAutoFit/>
          </a:bodyPr>
          <a:lstStyle/>
          <a:p>
            <a:pPr marL="360363" indent="-177800" algn="just">
              <a:spcAft>
                <a:spcPts val="600"/>
              </a:spcAft>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Les prix des matières réversibles sont moins élevés que le prix des éponges mais la chaîne de production n’est pas la même. La route recyclage via la fusion par creuset froid (EB ou PAM) est plus coûteuse en terme d’exploitation. De plus, il faut compter une étape supplémentaire avec la préparation des solides et copeaux</a:t>
            </a:r>
          </a:p>
          <a:p>
            <a:pPr marL="360363" indent="-177800" algn="just">
              <a:spcBef>
                <a:spcPts val="600"/>
              </a:spcBef>
              <a:buClr>
                <a:srgbClr val="1B9D91"/>
              </a:buClr>
              <a:buSzPct val="125000"/>
              <a:buFont typeface="Calibri" panose="020F0502020204030204" pitchFamily="34" charset="0"/>
              <a:buChar char="›"/>
            </a:pPr>
            <a:r>
              <a:rPr lang="fr-FR" sz="1400" dirty="0">
                <a:solidFill>
                  <a:schemeClr val="tx2"/>
                </a:solidFill>
                <a:cs typeface="Calibri" panose="020F0502020204030204" pitchFamily="34" charset="0"/>
              </a:rPr>
              <a:t>Toutefois, le rapport qualité/prix est optimisé avec le procédé PAMCHR </a:t>
            </a:r>
          </a:p>
        </p:txBody>
      </p:sp>
      <p:cxnSp>
        <p:nvCxnSpPr>
          <p:cNvPr id="13" name="Connecteur droit 12">
            <a:extLst>
              <a:ext uri="{FF2B5EF4-FFF2-40B4-BE49-F238E27FC236}">
                <a16:creationId xmlns:a16="http://schemas.microsoft.com/office/drawing/2014/main" id="{80F74F09-B81D-455E-8B08-90E99AFAE3B3}"/>
              </a:ext>
            </a:extLst>
          </p:cNvPr>
          <p:cNvCxnSpPr/>
          <p:nvPr/>
        </p:nvCxnSpPr>
        <p:spPr>
          <a:xfrm>
            <a:off x="4573646" y="1423592"/>
            <a:ext cx="0" cy="3996000"/>
          </a:xfrm>
          <a:prstGeom prst="line">
            <a:avLst/>
          </a:prstGeom>
          <a:ln>
            <a:solidFill>
              <a:srgbClr val="1B9D91"/>
            </a:solidFill>
          </a:ln>
        </p:spPr>
        <p:style>
          <a:lnRef idx="1">
            <a:schemeClr val="accent1"/>
          </a:lnRef>
          <a:fillRef idx="0">
            <a:schemeClr val="accent1"/>
          </a:fillRef>
          <a:effectRef idx="0">
            <a:schemeClr val="accent1"/>
          </a:effectRef>
          <a:fontRef idx="minor">
            <a:schemeClr val="tx1"/>
          </a:fontRef>
        </p:style>
      </p:cxnSp>
      <p:grpSp>
        <p:nvGrpSpPr>
          <p:cNvPr id="14" name="Group 10">
            <a:extLst>
              <a:ext uri="{FF2B5EF4-FFF2-40B4-BE49-F238E27FC236}">
                <a16:creationId xmlns:a16="http://schemas.microsoft.com/office/drawing/2014/main" id="{66F7EB1D-8832-465D-8DEE-DEB64105C559}"/>
              </a:ext>
            </a:extLst>
          </p:cNvPr>
          <p:cNvGrpSpPr>
            <a:grpSpLocks noChangeAspect="1"/>
          </p:cNvGrpSpPr>
          <p:nvPr/>
        </p:nvGrpSpPr>
        <p:grpSpPr>
          <a:xfrm rot="16200000">
            <a:off x="4354046" y="3209400"/>
            <a:ext cx="439200" cy="439200"/>
            <a:chOff x="477582" y="2362623"/>
            <a:chExt cx="590158" cy="590158"/>
          </a:xfrm>
        </p:grpSpPr>
        <p:sp>
          <p:nvSpPr>
            <p:cNvPr id="15" name="Oval 14">
              <a:extLst>
                <a:ext uri="{FF2B5EF4-FFF2-40B4-BE49-F238E27FC236}">
                  <a16:creationId xmlns:a16="http://schemas.microsoft.com/office/drawing/2014/main" id="{DB8BFE01-9F74-4978-B945-B8F3EB9EB1E4}"/>
                </a:ext>
              </a:extLst>
            </p:cNvPr>
            <p:cNvSpPr/>
            <p:nvPr/>
          </p:nvSpPr>
          <p:spPr>
            <a:xfrm>
              <a:off x="477582" y="2362623"/>
              <a:ext cx="590158" cy="590158"/>
            </a:xfrm>
            <a:prstGeom prst="ellipse">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nvGrpSpPr>
            <p:cNvPr id="16" name="ChevronBlue 33">
              <a:extLst>
                <a:ext uri="{FF2B5EF4-FFF2-40B4-BE49-F238E27FC236}">
                  <a16:creationId xmlns:a16="http://schemas.microsoft.com/office/drawing/2014/main" id="{83F311DB-5D50-412A-94D4-2FAA43A50F17}"/>
                </a:ext>
              </a:extLst>
            </p:cNvPr>
            <p:cNvGrpSpPr>
              <a:grpSpLocks noChangeAspect="1"/>
            </p:cNvGrpSpPr>
            <p:nvPr>
              <p:custDataLst>
                <p:tags r:id="rId2"/>
              </p:custDataLst>
            </p:nvPr>
          </p:nvGrpSpPr>
          <p:grpSpPr>
            <a:xfrm rot="5400000">
              <a:off x="554736" y="2439776"/>
              <a:ext cx="435851" cy="435851"/>
              <a:chOff x="1016000" y="1016000"/>
              <a:chExt cx="396228" cy="396228"/>
            </a:xfrm>
          </p:grpSpPr>
          <p:sp>
            <p:nvSpPr>
              <p:cNvPr id="17" name="Oval 16">
                <a:extLst>
                  <a:ext uri="{FF2B5EF4-FFF2-40B4-BE49-F238E27FC236}">
                    <a16:creationId xmlns:a16="http://schemas.microsoft.com/office/drawing/2014/main" id="{800C9B8A-30F3-47FC-A07F-E0156655CDD8}"/>
                  </a:ext>
                </a:extLst>
              </p:cNvPr>
              <p:cNvSpPr/>
              <p:nvPr/>
            </p:nvSpPr>
            <p:spPr>
              <a:xfrm>
                <a:off x="1016000" y="1016000"/>
                <a:ext cx="396228" cy="396228"/>
              </a:xfrm>
              <a:prstGeom prst="ellipse">
                <a:avLst/>
              </a:prstGeom>
              <a:solidFill>
                <a:srgbClr val="1B9D9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75BE4A15-176C-4F55-A0D9-50D888939578}"/>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182C53"/>
                  </a:solidFill>
                  <a:effectLst/>
                  <a:uLnTx/>
                  <a:uFillTx/>
                  <a:latin typeface="Arial"/>
                  <a:ea typeface="+mn-ea"/>
                  <a:cs typeface="+mn-cs"/>
                </a:endParaRPr>
              </a:p>
            </p:txBody>
          </p:sp>
        </p:grpSp>
      </p:grpSp>
      <p:sp>
        <p:nvSpPr>
          <p:cNvPr id="20" name="Rectangle 19">
            <a:extLst>
              <a:ext uri="{FF2B5EF4-FFF2-40B4-BE49-F238E27FC236}">
                <a16:creationId xmlns:a16="http://schemas.microsoft.com/office/drawing/2014/main" id="{B3F29E2E-E3A7-47E2-85EE-65247428F4B3}"/>
              </a:ext>
            </a:extLst>
          </p:cNvPr>
          <p:cNvSpPr/>
          <p:nvPr/>
        </p:nvSpPr>
        <p:spPr>
          <a:xfrm>
            <a:off x="556173" y="2628975"/>
            <a:ext cx="3295387" cy="1600051"/>
          </a:xfrm>
          <a:prstGeom prst="rect">
            <a:avLst/>
          </a:prstGeom>
          <a:solidFill>
            <a:srgbClr val="E3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2"/>
                </a:solidFill>
                <a:latin typeface="Calibri" panose="020F0502020204030204" pitchFamily="34" charset="0"/>
                <a:cs typeface="Calibri" panose="020F0502020204030204" pitchFamily="34" charset="0"/>
              </a:rPr>
              <a:t>Les prix de marché des chutes (copeaux et solides) sont moins élevés que le prix des éponges, le lingot recyclé doit être moins cher</a:t>
            </a:r>
          </a:p>
        </p:txBody>
      </p:sp>
      <p:sp>
        <p:nvSpPr>
          <p:cNvPr id="21" name="ZoneTexte 20">
            <a:extLst>
              <a:ext uri="{FF2B5EF4-FFF2-40B4-BE49-F238E27FC236}">
                <a16:creationId xmlns:a16="http://schemas.microsoft.com/office/drawing/2014/main" id="{A205DB07-29B3-4FE5-BBAA-65B66F9E9DC9}"/>
              </a:ext>
            </a:extLst>
          </p:cNvPr>
          <p:cNvSpPr txBox="1"/>
          <p:nvPr/>
        </p:nvSpPr>
        <p:spPr>
          <a:xfrm>
            <a:off x="3509105" y="3259410"/>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6600" dirty="0">
              <a:solidFill>
                <a:srgbClr val="1B9D91"/>
              </a:solidFill>
            </a:endParaRPr>
          </a:p>
        </p:txBody>
      </p:sp>
      <p:sp>
        <p:nvSpPr>
          <p:cNvPr id="9" name="ZoneTexte 8">
            <a:extLst>
              <a:ext uri="{FF2B5EF4-FFF2-40B4-BE49-F238E27FC236}">
                <a16:creationId xmlns:a16="http://schemas.microsoft.com/office/drawing/2014/main" id="{AA12F0F2-9313-4973-8829-469A3374133A}"/>
              </a:ext>
            </a:extLst>
          </p:cNvPr>
          <p:cNvSpPr txBox="1"/>
          <p:nvPr/>
        </p:nvSpPr>
        <p:spPr>
          <a:xfrm>
            <a:off x="103159" y="2228671"/>
            <a:ext cx="504304" cy="1200329"/>
          </a:xfrm>
          <a:prstGeom prst="rect">
            <a:avLst/>
          </a:prstGeom>
          <a:noFill/>
        </p:spPr>
        <p:txBody>
          <a:bodyPr wrap="square" rtlCol="0">
            <a:spAutoFit/>
          </a:bodyPr>
          <a:lstStyle/>
          <a:p>
            <a:r>
              <a:rPr lang="fr-FR" sz="7200" dirty="0">
                <a:solidFill>
                  <a:srgbClr val="1B9D91"/>
                </a:solidFill>
                <a:latin typeface="Times New Roman" panose="02020603050405020304" pitchFamily="18" charset="0"/>
                <a:cs typeface="Times New Roman" panose="02020603050405020304" pitchFamily="18" charset="0"/>
              </a:rPr>
              <a:t>“</a:t>
            </a:r>
            <a:endParaRPr lang="fr-FR" sz="7200" dirty="0">
              <a:solidFill>
                <a:srgbClr val="1B9D91"/>
              </a:solidFill>
            </a:endParaRPr>
          </a:p>
        </p:txBody>
      </p:sp>
      <p:pic>
        <p:nvPicPr>
          <p:cNvPr id="8" name="Image 7">
            <a:extLst>
              <a:ext uri="{FF2B5EF4-FFF2-40B4-BE49-F238E27FC236}">
                <a16:creationId xmlns:a16="http://schemas.microsoft.com/office/drawing/2014/main" id="{F48167A6-3CAA-40E4-A5B6-65881404661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50664" y="853294"/>
            <a:ext cx="1850856" cy="2597250"/>
          </a:xfrm>
          <a:prstGeom prst="rect">
            <a:avLst/>
          </a:prstGeom>
        </p:spPr>
      </p:pic>
      <p:pic>
        <p:nvPicPr>
          <p:cNvPr id="10" name="Image 9">
            <a:extLst>
              <a:ext uri="{FF2B5EF4-FFF2-40B4-BE49-F238E27FC236}">
                <a16:creationId xmlns:a16="http://schemas.microsoft.com/office/drawing/2014/main" id="{C74EBA60-DADD-407D-9FA6-1AA72879D05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16021" y="851346"/>
            <a:ext cx="1743225" cy="2135192"/>
          </a:xfrm>
          <a:prstGeom prst="rect">
            <a:avLst/>
          </a:prstGeom>
        </p:spPr>
      </p:pic>
    </p:spTree>
    <p:extLst>
      <p:ext uri="{BB962C8B-B14F-4D97-AF65-F5344CB8AC3E}">
        <p14:creationId xmlns:p14="http://schemas.microsoft.com/office/powerpoint/2010/main" val="2475691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0qNq24opN4iYAB2njC4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drilling*industry*working*productivity*construction*destruction*digging*tools"/>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confrontation*hands*fists*fighting*feud*enemies*enemy*adversaries*resistance*collaboratio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34.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Default Theme" id="{072CF57F-0325-476D-9428-FF1AA9A6559C}" vid="{1667804D-70EB-4281-ACA3-E990F8D51FCC}"/>
    </a:ext>
  </a:extLst>
</a:theme>
</file>

<file path=ppt/theme/theme2.xml><?xml version="1.0" encoding="utf-8"?>
<a:theme xmlns:a="http://schemas.openxmlformats.org/drawingml/2006/main" name="Conception personnalisée">
  <a:themeElements>
    <a:clrScheme name="Personnalisé 2">
      <a:dk1>
        <a:sysClr val="windowText" lastClr="000000"/>
      </a:dk1>
      <a:lt1>
        <a:sysClr val="window" lastClr="FFFFFF"/>
      </a:lt1>
      <a:dk2>
        <a:srgbClr val="44546A"/>
      </a:dk2>
      <a:lt2>
        <a:srgbClr val="E7E6E6"/>
      </a:lt2>
      <a:accent1>
        <a:srgbClr val="515793"/>
      </a:accent1>
      <a:accent2>
        <a:srgbClr val="FA6414"/>
      </a:accent2>
      <a:accent3>
        <a:srgbClr val="1A003B"/>
      </a:accent3>
      <a:accent4>
        <a:srgbClr val="FBF315"/>
      </a:accent4>
      <a:accent5>
        <a:srgbClr val="8589B3"/>
      </a:accent5>
      <a:accent6>
        <a:srgbClr val="4D97A9"/>
      </a:accent6>
      <a:hlink>
        <a:srgbClr val="0563C1"/>
      </a:hlink>
      <a:folHlink>
        <a:srgbClr val="5E4D7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AUBERT&amp;DUVAL">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869ED258-25C0-47E6-944C-BF97BD6B4D0D}"/>
    </a:ext>
  </a:extLst>
</a:theme>
</file>

<file path=ppt/theme/theme4.xml><?xml version="1.0" encoding="utf-8"?>
<a:theme xmlns:a="http://schemas.openxmlformats.org/drawingml/2006/main" name="2_ERASTEEL">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54DB7B35-2F85-4150-AA57-186F44BF3FE3}"/>
    </a:ext>
  </a:extLst>
</a:theme>
</file>

<file path=ppt/theme/theme5.xml><?xml version="1.0" encoding="utf-8"?>
<a:theme xmlns:a="http://schemas.openxmlformats.org/drawingml/2006/main" name="3_AD+ES">
  <a:themeElements>
    <a:clrScheme name="Eramet">
      <a:dk1>
        <a:sysClr val="windowText" lastClr="000000"/>
      </a:dk1>
      <a:lt1>
        <a:sysClr val="window" lastClr="FFFFFF"/>
      </a:lt1>
      <a:dk2>
        <a:srgbClr val="1A003B"/>
      </a:dk2>
      <a:lt2>
        <a:srgbClr val="F4F2F5"/>
      </a:lt2>
      <a:accent1>
        <a:srgbClr val="FBF315"/>
      </a:accent1>
      <a:accent2>
        <a:srgbClr val="FA6414"/>
      </a:accent2>
      <a:accent3>
        <a:srgbClr val="515793"/>
      </a:accent3>
      <a:accent4>
        <a:srgbClr val="1A003B"/>
      </a:accent4>
      <a:accent5>
        <a:srgbClr val="8589B3"/>
      </a:accent5>
      <a:accent6>
        <a:srgbClr val="5E4D76"/>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900" dirty="0" err="1">
            <a:solidFill>
              <a:schemeClr val="tx2"/>
            </a:solidFill>
          </a:defRPr>
        </a:defPPr>
      </a:lstStyle>
    </a:txDef>
  </a:objectDefaults>
  <a:extraClrSchemeLst/>
  <a:extLst>
    <a:ext uri="{05A4C25C-085E-4340-85A3-A5531E510DB2}">
      <thm15:themeFamily xmlns:thm15="http://schemas.microsoft.com/office/thememl/2012/main" name="Présentation1" id="{B819F255-57F9-4B1D-AB7F-76E33A917C4A}" vid="{5278248A-07DD-46FD-9847-6640A84025F1}"/>
    </a:ext>
  </a:extLst>
</a:theme>
</file>

<file path=ppt/theme/theme6.xml><?xml version="1.0" encoding="utf-8"?>
<a:theme xmlns:a="http://schemas.openxmlformats.org/drawingml/2006/main" name="4-Vier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65CEB523CDB99429A26264CCDC7FE26" ma:contentTypeVersion="3" ma:contentTypeDescription="Crée un document." ma:contentTypeScope="" ma:versionID="ec626f400bff41a8116b59009d78edb2">
  <xsd:schema xmlns:xsd="http://www.w3.org/2001/XMLSchema" xmlns:xs="http://www.w3.org/2001/XMLSchema" xmlns:p="http://schemas.microsoft.com/office/2006/metadata/properties" xmlns:ns2="b8ef688f-7b24-4632-a7f9-875ef7cdbd5d" targetNamespace="http://schemas.microsoft.com/office/2006/metadata/properties" ma:root="true" ma:fieldsID="3e505689789955ce45c9ca52b6c7e636" ns2:_="">
    <xsd:import namespace="b8ef688f-7b24-4632-a7f9-875ef7cdbd5d"/>
    <xsd:element name="properties">
      <xsd:complexType>
        <xsd:sequence>
          <xsd:element name="documentManagement">
            <xsd:complexType>
              <xsd:all>
                <xsd:element ref="ns2:MediaServiceMetadata" minOccurs="0"/>
                <xsd:element ref="ns2:MediaServiceFastMetadata"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ef688f-7b24-4632-a7f9-875ef7cdbd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757B37-122F-4194-A436-93D2AE66135F}">
  <ds:schemaRefs>
    <ds:schemaRef ds:uri="http://schemas.microsoft.com/sharepoint/v3/contenttype/forms"/>
  </ds:schemaRefs>
</ds:datastoreItem>
</file>

<file path=customXml/itemProps2.xml><?xml version="1.0" encoding="utf-8"?>
<ds:datastoreItem xmlns:ds="http://schemas.openxmlformats.org/officeDocument/2006/customXml" ds:itemID="{9D9A7912-EC6E-4444-A4EA-B5840CC050AF}">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8ef688f-7b24-4632-a7f9-875ef7cdbd5d"/>
    <ds:schemaRef ds:uri="http://www.w3.org/XML/1998/namespace"/>
    <ds:schemaRef ds:uri="http://purl.org/dc/dcmitype/"/>
  </ds:schemaRefs>
</ds:datastoreItem>
</file>

<file path=customXml/itemProps3.xml><?xml version="1.0" encoding="utf-8"?>
<ds:datastoreItem xmlns:ds="http://schemas.openxmlformats.org/officeDocument/2006/customXml" ds:itemID="{55CABE87-4F89-4141-B73F-543FF52989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8ef688f-7b24-4632-a7f9-875ef7cdbd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4099</TotalTime>
  <Words>1275</Words>
  <Application>Microsoft Office PowerPoint</Application>
  <PresentationFormat>Affichage à l'écran (4:3)</PresentationFormat>
  <Paragraphs>187</Paragraphs>
  <Slides>17</Slides>
  <Notes>3</Notes>
  <HiddenSlides>0</HiddenSlides>
  <MMClips>0</MMClips>
  <ScaleCrop>false</ScaleCrop>
  <HeadingPairs>
    <vt:vector size="8" baseType="variant">
      <vt:variant>
        <vt:lpstr>Polices utilisées</vt:lpstr>
      </vt:variant>
      <vt:variant>
        <vt:i4>6</vt:i4>
      </vt:variant>
      <vt:variant>
        <vt:lpstr>Thème</vt:lpstr>
      </vt:variant>
      <vt:variant>
        <vt:i4>6</vt:i4>
      </vt:variant>
      <vt:variant>
        <vt:lpstr>Serveurs OLE incorporés</vt:lpstr>
      </vt:variant>
      <vt:variant>
        <vt:i4>1</vt:i4>
      </vt:variant>
      <vt:variant>
        <vt:lpstr>Titres des diapositives</vt:lpstr>
      </vt:variant>
      <vt:variant>
        <vt:i4>17</vt:i4>
      </vt:variant>
    </vt:vector>
  </HeadingPairs>
  <TitlesOfParts>
    <vt:vector size="30" baseType="lpstr">
      <vt:lpstr>Arial</vt:lpstr>
      <vt:lpstr>Calibri</vt:lpstr>
      <vt:lpstr>Calibri Light</vt:lpstr>
      <vt:lpstr>Open Sans</vt:lpstr>
      <vt:lpstr>Times New Roman</vt:lpstr>
      <vt:lpstr>Wingdings</vt:lpstr>
      <vt:lpstr>Default Theme</vt:lpstr>
      <vt:lpstr>Conception personnalisée</vt:lpstr>
      <vt:lpstr>1_AUBERT&amp;DUVAL</vt:lpstr>
      <vt:lpstr>2_ERASTEEL</vt:lpstr>
      <vt:lpstr>3_AD+ES</vt:lpstr>
      <vt:lpstr>4-Vierge</vt:lpstr>
      <vt:lpstr>Diapositive think-cell</vt:lpstr>
      <vt:lpstr>EcoTitanium / UKAD : les avantages de la filière Titane</vt:lpstr>
      <vt:lpstr>Qui sommes nous?</vt:lpstr>
      <vt:lpstr>Présentation PowerPoint</vt:lpstr>
      <vt:lpstr>Présentation PowerPoint</vt:lpstr>
      <vt:lpstr>Présentation PowerPoint</vt:lpstr>
      <vt:lpstr>Notre raison d’être : Être une solution aux défis actuels et futurs de la filière titane</vt:lpstr>
      <vt:lpstr>Présentation PowerPoint</vt:lpstr>
      <vt:lpstr>Quelques réponses…</vt:lpstr>
      <vt:lpstr>Quelques réponses…</vt:lpstr>
      <vt:lpstr>Quelques réponses…</vt:lpstr>
      <vt:lpstr>Deux modèles économiques  </vt:lpstr>
      <vt:lpstr>Présentation PowerPoint</vt:lpstr>
      <vt:lpstr>Présentation PowerPoint</vt:lpstr>
      <vt:lpstr>Au-delà de l’intérêt économique, l’économie circulaire permet de réduire considérablement l’empreinte environnementale</vt:lpstr>
      <vt:lpstr>La filière valorisation est moins énergivore que la voie standard (éponges)</vt:lpstr>
      <vt:lpstr>La limitation du « tourisme industriel » dans la chaîne de valeur du titane demeure un enjeu RSE majeur  </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ROVENCHERE Sandrine</dc:creator>
  <cp:lastModifiedBy>PROVENCHERE Sandrine</cp:lastModifiedBy>
  <cp:revision>192</cp:revision>
  <dcterms:created xsi:type="dcterms:W3CDTF">2021-02-25T09:23:11Z</dcterms:created>
  <dcterms:modified xsi:type="dcterms:W3CDTF">2022-04-04T15:0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5CEB523CDB99429A26264CCDC7FE26</vt:lpwstr>
  </property>
</Properties>
</file>